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2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22E1F2-DFAA-7297-E1DA-1CF07CF55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9941AA1-2FC3-09E6-1B41-943840F6D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941AA1-2FC3-09E6-1B41-943840F6D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115BE-9830-DB06-1CEF-A97D00C9D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C6A8899-45B9-381A-DE44-D2CB314A209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20526_193751">
            <a:extLst>
              <a:ext uri="{FF2B5EF4-FFF2-40B4-BE49-F238E27FC236}">
                <a16:creationId xmlns:a16="http://schemas.microsoft.com/office/drawing/2014/main" id="{FC5637C5-3A4A-CB71-CBF5-0C69384B2441}"/>
              </a:ext>
            </a:extLst>
          </p:cNvPr>
          <p:cNvSpPr/>
          <p:nvPr/>
        </p:nvSpPr>
        <p:spPr>
          <a:xfrm>
            <a:off x="4358038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19" name="Google Shape;635;p20">
            <a:extLst>
              <a:ext uri="{FF2B5EF4-FFF2-40B4-BE49-F238E27FC236}">
                <a16:creationId xmlns:a16="http://schemas.microsoft.com/office/drawing/2014/main" id="{CFAF5EBB-18D9-BFE6-FD99-09E354F1F697}"/>
              </a:ext>
            </a:extLst>
          </p:cNvPr>
          <p:cNvSpPr/>
          <p:nvPr/>
        </p:nvSpPr>
        <p:spPr>
          <a:xfrm>
            <a:off x="441298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6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638;p20">
            <a:extLst>
              <a:ext uri="{FF2B5EF4-FFF2-40B4-BE49-F238E27FC236}">
                <a16:creationId xmlns:a16="http://schemas.microsoft.com/office/drawing/2014/main" id="{C8B1781A-A388-E570-7337-D9D22720AD8E}"/>
              </a:ext>
            </a:extLst>
          </p:cNvPr>
          <p:cNvSpPr/>
          <p:nvPr/>
        </p:nvSpPr>
        <p:spPr>
          <a:xfrm>
            <a:off x="7048460" y="1366584"/>
            <a:ext cx="785502" cy="792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D53027D-04FB-42B9-02F8-A820CF37F074}"/>
              </a:ext>
            </a:extLst>
          </p:cNvPr>
          <p:cNvSpPr/>
          <p:nvPr/>
        </p:nvSpPr>
        <p:spPr>
          <a:xfrm>
            <a:off x="7504783" y="1494278"/>
            <a:ext cx="120052" cy="120052"/>
          </a:xfrm>
          <a:custGeom>
            <a:avLst/>
            <a:gdLst>
              <a:gd name="connsiteX0" fmla="*/ 36773 w 190500"/>
              <a:gd name="connsiteY0" fmla="*/ 164731 h 190500"/>
              <a:gd name="connsiteX1" fmla="*/ 14239 w 190500"/>
              <a:gd name="connsiteY1" fmla="*/ 62570 h 190500"/>
              <a:gd name="connsiteX2" fmla="*/ 78212 w 190500"/>
              <a:gd name="connsiteY2" fmla="*/ 9318 h 190500"/>
              <a:gd name="connsiteX3" fmla="*/ 158654 w 190500"/>
              <a:gd name="connsiteY3" fmla="*/ 30716 h 190500"/>
              <a:gd name="connsiteX4" fmla="*/ 181192 w 190500"/>
              <a:gd name="connsiteY4" fmla="*/ 132873 h 190500"/>
              <a:gd name="connsiteX5" fmla="*/ 117214 w 190500"/>
              <a:gd name="connsiteY5" fmla="*/ 186130 h 190500"/>
              <a:gd name="connsiteX6" fmla="*/ 97462 w 190500"/>
              <a:gd name="connsiteY6" fmla="*/ 188297 h 190500"/>
              <a:gd name="connsiteX7" fmla="*/ 36773 w 190500"/>
              <a:gd name="connsiteY7" fmla="*/ 164731 h 190500"/>
              <a:gd name="connsiteX8" fmla="*/ 80263 w 190500"/>
              <a:gd name="connsiteY8" fmla="*/ 18619 h 190500"/>
              <a:gd name="connsiteX9" fmla="*/ 22992 w 190500"/>
              <a:gd name="connsiteY9" fmla="*/ 66328 h 190500"/>
              <a:gd name="connsiteX10" fmla="*/ 43135 w 190500"/>
              <a:gd name="connsiteY10" fmla="*/ 157643 h 190500"/>
              <a:gd name="connsiteX11" fmla="*/ 39954 w 190500"/>
              <a:gd name="connsiteY11" fmla="*/ 161187 h 190500"/>
              <a:gd name="connsiteX12" fmla="*/ 43135 w 190500"/>
              <a:gd name="connsiteY12" fmla="*/ 157643 h 190500"/>
              <a:gd name="connsiteX13" fmla="*/ 115163 w 190500"/>
              <a:gd name="connsiteY13" fmla="*/ 176828 h 190500"/>
              <a:gd name="connsiteX14" fmla="*/ 172439 w 190500"/>
              <a:gd name="connsiteY14" fmla="*/ 129115 h 190500"/>
              <a:gd name="connsiteX15" fmla="*/ 152291 w 190500"/>
              <a:gd name="connsiteY15" fmla="*/ 37804 h 190500"/>
              <a:gd name="connsiteX16" fmla="*/ 97922 w 190500"/>
              <a:gd name="connsiteY16" fmla="*/ 16680 h 190500"/>
              <a:gd name="connsiteX17" fmla="*/ 80263 w 190500"/>
              <a:gd name="connsiteY17" fmla="*/ 1861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0500" h="190500">
                <a:moveTo>
                  <a:pt x="36773" y="164731"/>
                </a:moveTo>
                <a:cubicBezTo>
                  <a:pt x="8542" y="139421"/>
                  <a:pt x="-727" y="97410"/>
                  <a:pt x="14239" y="62570"/>
                </a:cubicBezTo>
                <a:cubicBezTo>
                  <a:pt x="26039" y="35093"/>
                  <a:pt x="49358" y="15680"/>
                  <a:pt x="78212" y="9318"/>
                </a:cubicBezTo>
                <a:cubicBezTo>
                  <a:pt x="107071" y="2941"/>
                  <a:pt x="136385" y="10745"/>
                  <a:pt x="158654" y="30716"/>
                </a:cubicBezTo>
                <a:cubicBezTo>
                  <a:pt x="186885" y="56026"/>
                  <a:pt x="196154" y="98033"/>
                  <a:pt x="181192" y="132873"/>
                </a:cubicBezTo>
                <a:cubicBezTo>
                  <a:pt x="169388" y="160355"/>
                  <a:pt x="146068" y="179763"/>
                  <a:pt x="117214" y="186130"/>
                </a:cubicBezTo>
                <a:cubicBezTo>
                  <a:pt x="110624" y="187581"/>
                  <a:pt x="104010" y="188297"/>
                  <a:pt x="97462" y="188297"/>
                </a:cubicBezTo>
                <a:cubicBezTo>
                  <a:pt x="75338" y="188297"/>
                  <a:pt x="53958" y="180135"/>
                  <a:pt x="36773" y="164731"/>
                </a:cubicBezTo>
                <a:close/>
                <a:moveTo>
                  <a:pt x="80263" y="18619"/>
                </a:moveTo>
                <a:cubicBezTo>
                  <a:pt x="54441" y="24312"/>
                  <a:pt x="33568" y="41706"/>
                  <a:pt x="22992" y="66328"/>
                </a:cubicBezTo>
                <a:cubicBezTo>
                  <a:pt x="9616" y="97470"/>
                  <a:pt x="17899" y="135017"/>
                  <a:pt x="43135" y="157643"/>
                </a:cubicBezTo>
                <a:lnTo>
                  <a:pt x="39954" y="161187"/>
                </a:lnTo>
                <a:lnTo>
                  <a:pt x="43135" y="157643"/>
                </a:lnTo>
                <a:cubicBezTo>
                  <a:pt x="63087" y="175531"/>
                  <a:pt x="89332" y="182521"/>
                  <a:pt x="115163" y="176828"/>
                </a:cubicBezTo>
                <a:cubicBezTo>
                  <a:pt x="140985" y="171131"/>
                  <a:pt x="161863" y="153741"/>
                  <a:pt x="172439" y="129115"/>
                </a:cubicBezTo>
                <a:cubicBezTo>
                  <a:pt x="185810" y="97977"/>
                  <a:pt x="177527" y="60431"/>
                  <a:pt x="152291" y="37804"/>
                </a:cubicBezTo>
                <a:cubicBezTo>
                  <a:pt x="136892" y="23996"/>
                  <a:pt x="117735" y="16680"/>
                  <a:pt x="97922" y="16680"/>
                </a:cubicBezTo>
                <a:cubicBezTo>
                  <a:pt x="92067" y="16680"/>
                  <a:pt x="86151" y="17317"/>
                  <a:pt x="80263" y="18619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FC90B65-D261-8983-31DB-560571B57A22}"/>
              </a:ext>
            </a:extLst>
          </p:cNvPr>
          <p:cNvSpPr/>
          <p:nvPr/>
        </p:nvSpPr>
        <p:spPr>
          <a:xfrm>
            <a:off x="7231113" y="1575218"/>
            <a:ext cx="420181" cy="456196"/>
          </a:xfrm>
          <a:custGeom>
            <a:avLst/>
            <a:gdLst>
              <a:gd name="connsiteX0" fmla="*/ 347810 w 666750"/>
              <a:gd name="connsiteY0" fmla="*/ 683005 h 723900"/>
              <a:gd name="connsiteX1" fmla="*/ 348866 w 666750"/>
              <a:gd name="connsiteY1" fmla="*/ 523024 h 723900"/>
              <a:gd name="connsiteX2" fmla="*/ 276336 w 666750"/>
              <a:gd name="connsiteY2" fmla="*/ 392641 h 723900"/>
              <a:gd name="connsiteX3" fmla="*/ 273899 w 666750"/>
              <a:gd name="connsiteY3" fmla="*/ 535693 h 723900"/>
              <a:gd name="connsiteX4" fmla="*/ 232375 w 666750"/>
              <a:gd name="connsiteY4" fmla="*/ 576955 h 723900"/>
              <a:gd name="connsiteX5" fmla="*/ 50201 w 666750"/>
              <a:gd name="connsiteY5" fmla="*/ 579141 h 723900"/>
              <a:gd name="connsiteX6" fmla="*/ 49168 w 666750"/>
              <a:gd name="connsiteY6" fmla="*/ 579197 h 723900"/>
              <a:gd name="connsiteX7" fmla="*/ 18779 w 666750"/>
              <a:gd name="connsiteY7" fmla="*/ 566202 h 723900"/>
              <a:gd name="connsiteX8" fmla="*/ 7189 w 666750"/>
              <a:gd name="connsiteY8" fmla="*/ 535209 h 723900"/>
              <a:gd name="connsiteX9" fmla="*/ 50787 w 666750"/>
              <a:gd name="connsiteY9" fmla="*/ 495081 h 723900"/>
              <a:gd name="connsiteX10" fmla="*/ 190545 w 666750"/>
              <a:gd name="connsiteY10" fmla="*/ 493453 h 723900"/>
              <a:gd name="connsiteX11" fmla="*/ 192852 w 666750"/>
              <a:gd name="connsiteY11" fmla="*/ 337844 h 723900"/>
              <a:gd name="connsiteX12" fmla="*/ 216051 w 666750"/>
              <a:gd name="connsiteY12" fmla="*/ 255491 h 723900"/>
              <a:gd name="connsiteX13" fmla="*/ 323644 w 666750"/>
              <a:gd name="connsiteY13" fmla="*/ 91487 h 723900"/>
              <a:gd name="connsiteX14" fmla="*/ 253658 w 666750"/>
              <a:gd name="connsiteY14" fmla="*/ 91752 h 723900"/>
              <a:gd name="connsiteX15" fmla="*/ 186778 w 666750"/>
              <a:gd name="connsiteY15" fmla="*/ 189951 h 723900"/>
              <a:gd name="connsiteX16" fmla="*/ 159868 w 666750"/>
              <a:gd name="connsiteY16" fmla="*/ 207606 h 723900"/>
              <a:gd name="connsiteX17" fmla="*/ 128354 w 666750"/>
              <a:gd name="connsiteY17" fmla="*/ 201039 h 723900"/>
              <a:gd name="connsiteX18" fmla="*/ 110708 w 666750"/>
              <a:gd name="connsiteY18" fmla="*/ 174124 h 723900"/>
              <a:gd name="connsiteX19" fmla="*/ 117276 w 666750"/>
              <a:gd name="connsiteY19" fmla="*/ 142619 h 723900"/>
              <a:gd name="connsiteX20" fmla="*/ 196620 w 666750"/>
              <a:gd name="connsiteY20" fmla="*/ 26128 h 723900"/>
              <a:gd name="connsiteX21" fmla="*/ 231213 w 666750"/>
              <a:gd name="connsiteY21" fmla="*/ 7743 h 723900"/>
              <a:gd name="connsiteX22" fmla="*/ 367079 w 666750"/>
              <a:gd name="connsiteY22" fmla="*/ 7232 h 723900"/>
              <a:gd name="connsiteX23" fmla="*/ 433926 w 666750"/>
              <a:gd name="connsiteY23" fmla="*/ 23110 h 723900"/>
              <a:gd name="connsiteX24" fmla="*/ 499922 w 666750"/>
              <a:gd name="connsiteY24" fmla="*/ 73628 h 723900"/>
              <a:gd name="connsiteX25" fmla="*/ 537450 w 666750"/>
              <a:gd name="connsiteY25" fmla="*/ 146400 h 723900"/>
              <a:gd name="connsiteX26" fmla="*/ 536464 w 666750"/>
              <a:gd name="connsiteY26" fmla="*/ 254212 h 723900"/>
              <a:gd name="connsiteX27" fmla="*/ 616859 w 666750"/>
              <a:gd name="connsiteY27" fmla="*/ 254249 h 723900"/>
              <a:gd name="connsiteX28" fmla="*/ 616854 w 666750"/>
              <a:gd name="connsiteY28" fmla="*/ 254249 h 723900"/>
              <a:gd name="connsiteX29" fmla="*/ 658991 w 666750"/>
              <a:gd name="connsiteY29" fmla="*/ 287587 h 723900"/>
              <a:gd name="connsiteX30" fmla="*/ 650378 w 666750"/>
              <a:gd name="connsiteY30" fmla="*/ 322915 h 723900"/>
              <a:gd name="connsiteX31" fmla="*/ 617798 w 666750"/>
              <a:gd name="connsiteY31" fmla="*/ 338347 h 723900"/>
              <a:gd name="connsiteX32" fmla="*/ 494006 w 666750"/>
              <a:gd name="connsiteY32" fmla="*/ 338291 h 723900"/>
              <a:gd name="connsiteX33" fmla="*/ 464166 w 666750"/>
              <a:gd name="connsiteY33" fmla="*/ 325836 h 723900"/>
              <a:gd name="connsiteX34" fmla="*/ 451981 w 666750"/>
              <a:gd name="connsiteY34" fmla="*/ 295856 h 723900"/>
              <a:gd name="connsiteX35" fmla="*/ 452869 w 666750"/>
              <a:gd name="connsiteY35" fmla="*/ 198318 h 723900"/>
              <a:gd name="connsiteX36" fmla="*/ 352173 w 666750"/>
              <a:gd name="connsiteY36" fmla="*/ 356029 h 723900"/>
              <a:gd name="connsiteX37" fmla="*/ 427731 w 666750"/>
              <a:gd name="connsiteY37" fmla="*/ 491798 h 723900"/>
              <a:gd name="connsiteX38" fmla="*/ 433038 w 666750"/>
              <a:gd name="connsiteY38" fmla="*/ 512522 h 723900"/>
              <a:gd name="connsiteX39" fmla="*/ 431908 w 666750"/>
              <a:gd name="connsiteY39" fmla="*/ 683563 h 723900"/>
              <a:gd name="connsiteX40" fmla="*/ 389580 w 666750"/>
              <a:gd name="connsiteY40" fmla="*/ 725328 h 723900"/>
              <a:gd name="connsiteX41" fmla="*/ 347810 w 666750"/>
              <a:gd name="connsiteY41" fmla="*/ 683005 h 723900"/>
              <a:gd name="connsiteX42" fmla="*/ 455580 w 666750"/>
              <a:gd name="connsiteY42" fmla="*/ 189188 h 723900"/>
              <a:gd name="connsiteX43" fmla="*/ 462394 w 666750"/>
              <a:gd name="connsiteY43" fmla="*/ 198402 h 723900"/>
              <a:gd name="connsiteX44" fmla="*/ 461506 w 666750"/>
              <a:gd name="connsiteY44" fmla="*/ 295940 h 723900"/>
              <a:gd name="connsiteX45" fmla="*/ 470933 w 666750"/>
              <a:gd name="connsiteY45" fmla="*/ 319129 h 723900"/>
              <a:gd name="connsiteX46" fmla="*/ 494011 w 666750"/>
              <a:gd name="connsiteY46" fmla="*/ 328766 h 723900"/>
              <a:gd name="connsiteX47" fmla="*/ 617822 w 666750"/>
              <a:gd name="connsiteY47" fmla="*/ 328822 h 723900"/>
              <a:gd name="connsiteX48" fmla="*/ 643006 w 666750"/>
              <a:gd name="connsiteY48" fmla="*/ 316878 h 723900"/>
              <a:gd name="connsiteX49" fmla="*/ 649652 w 666750"/>
              <a:gd name="connsiteY49" fmla="*/ 289475 h 723900"/>
              <a:gd name="connsiteX50" fmla="*/ 616854 w 666750"/>
              <a:gd name="connsiteY50" fmla="*/ 263774 h 723900"/>
              <a:gd name="connsiteX51" fmla="*/ 526855 w 666750"/>
              <a:gd name="connsiteY51" fmla="*/ 263728 h 723900"/>
              <a:gd name="connsiteX52" fmla="*/ 527934 w 666750"/>
              <a:gd name="connsiteY52" fmla="*/ 146093 h 723900"/>
              <a:gd name="connsiteX53" fmla="*/ 494327 w 666750"/>
              <a:gd name="connsiteY53" fmla="*/ 81330 h 723900"/>
              <a:gd name="connsiteX54" fmla="*/ 428410 w 666750"/>
              <a:gd name="connsiteY54" fmla="*/ 30877 h 723900"/>
              <a:gd name="connsiteX55" fmla="*/ 367251 w 666750"/>
              <a:gd name="connsiteY55" fmla="*/ 16752 h 723900"/>
              <a:gd name="connsiteX56" fmla="*/ 231250 w 666750"/>
              <a:gd name="connsiteY56" fmla="*/ 17268 h 723900"/>
              <a:gd name="connsiteX57" fmla="*/ 204489 w 666750"/>
              <a:gd name="connsiteY57" fmla="*/ 31486 h 723900"/>
              <a:gd name="connsiteX58" fmla="*/ 125145 w 666750"/>
              <a:gd name="connsiteY58" fmla="*/ 147981 h 723900"/>
              <a:gd name="connsiteX59" fmla="*/ 120075 w 666750"/>
              <a:gd name="connsiteY59" fmla="*/ 172352 h 723900"/>
              <a:gd name="connsiteX60" fmla="*/ 133712 w 666750"/>
              <a:gd name="connsiteY60" fmla="*/ 193169 h 723900"/>
              <a:gd name="connsiteX61" fmla="*/ 158092 w 666750"/>
              <a:gd name="connsiteY61" fmla="*/ 198243 h 723900"/>
              <a:gd name="connsiteX62" fmla="*/ 178909 w 666750"/>
              <a:gd name="connsiteY62" fmla="*/ 184593 h 723900"/>
              <a:gd name="connsiteX63" fmla="*/ 245789 w 666750"/>
              <a:gd name="connsiteY63" fmla="*/ 86394 h 723900"/>
              <a:gd name="connsiteX64" fmla="*/ 253621 w 666750"/>
              <a:gd name="connsiteY64" fmla="*/ 82227 h 723900"/>
              <a:gd name="connsiteX65" fmla="*/ 323598 w 666750"/>
              <a:gd name="connsiteY65" fmla="*/ 81962 h 723900"/>
              <a:gd name="connsiteX66" fmla="*/ 332016 w 666750"/>
              <a:gd name="connsiteY66" fmla="*/ 86943 h 723900"/>
              <a:gd name="connsiteX67" fmla="*/ 331607 w 666750"/>
              <a:gd name="connsiteY67" fmla="*/ 96710 h 723900"/>
              <a:gd name="connsiteX68" fmla="*/ 223985 w 666750"/>
              <a:gd name="connsiteY68" fmla="*/ 260761 h 723900"/>
              <a:gd name="connsiteX69" fmla="*/ 202377 w 666750"/>
              <a:gd name="connsiteY69" fmla="*/ 337844 h 723900"/>
              <a:gd name="connsiteX70" fmla="*/ 200070 w 666750"/>
              <a:gd name="connsiteY70" fmla="*/ 493621 h 723900"/>
              <a:gd name="connsiteX71" fmla="*/ 190666 w 666750"/>
              <a:gd name="connsiteY71" fmla="*/ 502904 h 723900"/>
              <a:gd name="connsiteX72" fmla="*/ 50898 w 666750"/>
              <a:gd name="connsiteY72" fmla="*/ 504606 h 723900"/>
              <a:gd name="connsiteX73" fmla="*/ 16696 w 666750"/>
              <a:gd name="connsiteY73" fmla="*/ 535637 h 723900"/>
              <a:gd name="connsiteX74" fmla="*/ 25672 w 666750"/>
              <a:gd name="connsiteY74" fmla="*/ 559617 h 723900"/>
              <a:gd name="connsiteX75" fmla="*/ 49512 w 666750"/>
              <a:gd name="connsiteY75" fmla="*/ 569653 h 723900"/>
              <a:gd name="connsiteX76" fmla="*/ 49587 w 666750"/>
              <a:gd name="connsiteY76" fmla="*/ 569653 h 723900"/>
              <a:gd name="connsiteX77" fmla="*/ 232264 w 666750"/>
              <a:gd name="connsiteY77" fmla="*/ 567430 h 723900"/>
              <a:gd name="connsiteX78" fmla="*/ 264374 w 666750"/>
              <a:gd name="connsiteY78" fmla="*/ 535516 h 723900"/>
              <a:gd name="connsiteX79" fmla="*/ 266811 w 666750"/>
              <a:gd name="connsiteY79" fmla="*/ 392492 h 723900"/>
              <a:gd name="connsiteX80" fmla="*/ 273982 w 666750"/>
              <a:gd name="connsiteY80" fmla="*/ 383432 h 723900"/>
              <a:gd name="connsiteX81" fmla="*/ 284651 w 666750"/>
              <a:gd name="connsiteY81" fmla="*/ 388055 h 723900"/>
              <a:gd name="connsiteX82" fmla="*/ 357186 w 666750"/>
              <a:gd name="connsiteY82" fmla="*/ 518382 h 723900"/>
              <a:gd name="connsiteX83" fmla="*/ 358396 w 666750"/>
              <a:gd name="connsiteY83" fmla="*/ 523089 h 723900"/>
              <a:gd name="connsiteX84" fmla="*/ 357335 w 666750"/>
              <a:gd name="connsiteY84" fmla="*/ 683060 h 723900"/>
              <a:gd name="connsiteX85" fmla="*/ 389868 w 666750"/>
              <a:gd name="connsiteY85" fmla="*/ 715803 h 723900"/>
              <a:gd name="connsiteX86" fmla="*/ 422383 w 666750"/>
              <a:gd name="connsiteY86" fmla="*/ 683507 h 723900"/>
              <a:gd name="connsiteX87" fmla="*/ 423513 w 666750"/>
              <a:gd name="connsiteY87" fmla="*/ 512466 h 723900"/>
              <a:gd name="connsiteX88" fmla="*/ 419406 w 666750"/>
              <a:gd name="connsiteY88" fmla="*/ 496430 h 723900"/>
              <a:gd name="connsiteX89" fmla="*/ 341085 w 666750"/>
              <a:gd name="connsiteY89" fmla="*/ 355694 h 723900"/>
              <a:gd name="connsiteX90" fmla="*/ 444842 w 666750"/>
              <a:gd name="connsiteY90" fmla="*/ 193193 h 723900"/>
              <a:gd name="connsiteX91" fmla="*/ 452823 w 666750"/>
              <a:gd name="connsiteY91" fmla="*/ 188784 h 723900"/>
              <a:gd name="connsiteX92" fmla="*/ 455580 w 666750"/>
              <a:gd name="connsiteY92" fmla="*/ 189188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66750" h="723900">
                <a:moveTo>
                  <a:pt x="347810" y="683005"/>
                </a:moveTo>
                <a:lnTo>
                  <a:pt x="348866" y="523024"/>
                </a:lnTo>
                <a:lnTo>
                  <a:pt x="276336" y="392641"/>
                </a:lnTo>
                <a:cubicBezTo>
                  <a:pt x="275471" y="450991"/>
                  <a:pt x="273992" y="530977"/>
                  <a:pt x="273899" y="535693"/>
                </a:cubicBezTo>
                <a:cubicBezTo>
                  <a:pt x="273471" y="558566"/>
                  <a:pt x="255239" y="576695"/>
                  <a:pt x="232375" y="576955"/>
                </a:cubicBezTo>
                <a:lnTo>
                  <a:pt x="50201" y="579141"/>
                </a:lnTo>
                <a:lnTo>
                  <a:pt x="49168" y="579197"/>
                </a:lnTo>
                <a:cubicBezTo>
                  <a:pt x="37587" y="579197"/>
                  <a:pt x="26797" y="574583"/>
                  <a:pt x="18779" y="566202"/>
                </a:cubicBezTo>
                <a:cubicBezTo>
                  <a:pt x="10780" y="557831"/>
                  <a:pt x="6659" y="546818"/>
                  <a:pt x="7189" y="535209"/>
                </a:cubicBezTo>
                <a:cubicBezTo>
                  <a:pt x="8185" y="512987"/>
                  <a:pt x="27337" y="495360"/>
                  <a:pt x="50787" y="495081"/>
                </a:cubicBezTo>
                <a:lnTo>
                  <a:pt x="190545" y="493453"/>
                </a:lnTo>
                <a:cubicBezTo>
                  <a:pt x="191411" y="445010"/>
                  <a:pt x="192852" y="360373"/>
                  <a:pt x="192852" y="337844"/>
                </a:cubicBezTo>
                <a:cubicBezTo>
                  <a:pt x="192852" y="292340"/>
                  <a:pt x="212200" y="261226"/>
                  <a:pt x="216051" y="255491"/>
                </a:cubicBezTo>
                <a:lnTo>
                  <a:pt x="323644" y="91487"/>
                </a:lnTo>
                <a:lnTo>
                  <a:pt x="253658" y="91752"/>
                </a:lnTo>
                <a:lnTo>
                  <a:pt x="186778" y="189951"/>
                </a:lnTo>
                <a:cubicBezTo>
                  <a:pt x="180462" y="199239"/>
                  <a:pt x="170909" y="205513"/>
                  <a:pt x="159868" y="207606"/>
                </a:cubicBezTo>
                <a:cubicBezTo>
                  <a:pt x="148846" y="209675"/>
                  <a:pt x="137646" y="207364"/>
                  <a:pt x="128354" y="201039"/>
                </a:cubicBezTo>
                <a:cubicBezTo>
                  <a:pt x="119071" y="194718"/>
                  <a:pt x="112811" y="185161"/>
                  <a:pt x="110708" y="174124"/>
                </a:cubicBezTo>
                <a:cubicBezTo>
                  <a:pt x="108616" y="163087"/>
                  <a:pt x="110950" y="151897"/>
                  <a:pt x="117276" y="142619"/>
                </a:cubicBezTo>
                <a:lnTo>
                  <a:pt x="196620" y="26128"/>
                </a:lnTo>
                <a:cubicBezTo>
                  <a:pt x="204414" y="14669"/>
                  <a:pt x="217344" y="7795"/>
                  <a:pt x="231213" y="7743"/>
                </a:cubicBezTo>
                <a:lnTo>
                  <a:pt x="367079" y="7232"/>
                </a:lnTo>
                <a:cubicBezTo>
                  <a:pt x="379911" y="6776"/>
                  <a:pt x="412034" y="7543"/>
                  <a:pt x="433926" y="23110"/>
                </a:cubicBezTo>
                <a:cubicBezTo>
                  <a:pt x="444930" y="30928"/>
                  <a:pt x="480160" y="58233"/>
                  <a:pt x="499922" y="73628"/>
                </a:cubicBezTo>
                <a:cubicBezTo>
                  <a:pt x="529478" y="93613"/>
                  <a:pt x="538682" y="124439"/>
                  <a:pt x="537450" y="146400"/>
                </a:cubicBezTo>
                <a:lnTo>
                  <a:pt x="536464" y="254212"/>
                </a:lnTo>
                <a:lnTo>
                  <a:pt x="616859" y="254249"/>
                </a:lnTo>
                <a:lnTo>
                  <a:pt x="616854" y="254249"/>
                </a:lnTo>
                <a:cubicBezTo>
                  <a:pt x="637369" y="254254"/>
                  <a:pt x="655094" y="268276"/>
                  <a:pt x="658991" y="287587"/>
                </a:cubicBezTo>
                <a:cubicBezTo>
                  <a:pt x="661540" y="300233"/>
                  <a:pt x="658401" y="313102"/>
                  <a:pt x="650378" y="322915"/>
                </a:cubicBezTo>
                <a:cubicBezTo>
                  <a:pt x="642350" y="332719"/>
                  <a:pt x="630481" y="338347"/>
                  <a:pt x="617798" y="338347"/>
                </a:cubicBezTo>
                <a:lnTo>
                  <a:pt x="494006" y="338291"/>
                </a:lnTo>
                <a:cubicBezTo>
                  <a:pt x="482872" y="338281"/>
                  <a:pt x="471993" y="333742"/>
                  <a:pt x="464166" y="325836"/>
                </a:cubicBezTo>
                <a:cubicBezTo>
                  <a:pt x="456325" y="317929"/>
                  <a:pt x="451883" y="307000"/>
                  <a:pt x="451981" y="295856"/>
                </a:cubicBezTo>
                <a:lnTo>
                  <a:pt x="452869" y="198318"/>
                </a:lnTo>
                <a:lnTo>
                  <a:pt x="352173" y="356029"/>
                </a:lnTo>
                <a:lnTo>
                  <a:pt x="427731" y="491798"/>
                </a:lnTo>
                <a:cubicBezTo>
                  <a:pt x="431252" y="498123"/>
                  <a:pt x="433084" y="505294"/>
                  <a:pt x="433038" y="512522"/>
                </a:cubicBezTo>
                <a:lnTo>
                  <a:pt x="431908" y="683563"/>
                </a:lnTo>
                <a:cubicBezTo>
                  <a:pt x="431754" y="706594"/>
                  <a:pt x="412899" y="725328"/>
                  <a:pt x="389580" y="725328"/>
                </a:cubicBezTo>
                <a:cubicBezTo>
                  <a:pt x="366400" y="725169"/>
                  <a:pt x="347666" y="706185"/>
                  <a:pt x="347810" y="683005"/>
                </a:cubicBezTo>
                <a:close/>
                <a:moveTo>
                  <a:pt x="455580" y="189188"/>
                </a:moveTo>
                <a:cubicBezTo>
                  <a:pt x="459692" y="190407"/>
                  <a:pt x="462431" y="194113"/>
                  <a:pt x="462394" y="198402"/>
                </a:cubicBezTo>
                <a:lnTo>
                  <a:pt x="461506" y="295940"/>
                </a:lnTo>
                <a:cubicBezTo>
                  <a:pt x="461427" y="304563"/>
                  <a:pt x="464864" y="313009"/>
                  <a:pt x="470933" y="319129"/>
                </a:cubicBezTo>
                <a:cubicBezTo>
                  <a:pt x="476988" y="325240"/>
                  <a:pt x="485402" y="328756"/>
                  <a:pt x="494011" y="328766"/>
                </a:cubicBezTo>
                <a:lnTo>
                  <a:pt x="617822" y="328822"/>
                </a:lnTo>
                <a:cubicBezTo>
                  <a:pt x="627617" y="328822"/>
                  <a:pt x="636793" y="324468"/>
                  <a:pt x="643006" y="316878"/>
                </a:cubicBezTo>
                <a:cubicBezTo>
                  <a:pt x="649215" y="309288"/>
                  <a:pt x="651638" y="299302"/>
                  <a:pt x="649652" y="289475"/>
                </a:cubicBezTo>
                <a:cubicBezTo>
                  <a:pt x="646648" y="274588"/>
                  <a:pt x="632853" y="263779"/>
                  <a:pt x="616854" y="263774"/>
                </a:cubicBezTo>
                <a:lnTo>
                  <a:pt x="526855" y="263728"/>
                </a:lnTo>
                <a:lnTo>
                  <a:pt x="527934" y="146093"/>
                </a:lnTo>
                <a:cubicBezTo>
                  <a:pt x="529027" y="126518"/>
                  <a:pt x="520842" y="99273"/>
                  <a:pt x="494327" y="81330"/>
                </a:cubicBezTo>
                <a:cubicBezTo>
                  <a:pt x="474370" y="65796"/>
                  <a:pt x="439270" y="38588"/>
                  <a:pt x="428410" y="30877"/>
                </a:cubicBezTo>
                <a:cubicBezTo>
                  <a:pt x="408867" y="16985"/>
                  <a:pt x="379204" y="16394"/>
                  <a:pt x="367251" y="16752"/>
                </a:cubicBezTo>
                <a:lnTo>
                  <a:pt x="231250" y="17268"/>
                </a:lnTo>
                <a:cubicBezTo>
                  <a:pt x="220525" y="17310"/>
                  <a:pt x="210526" y="22626"/>
                  <a:pt x="204489" y="31486"/>
                </a:cubicBezTo>
                <a:lnTo>
                  <a:pt x="125145" y="147981"/>
                </a:lnTo>
                <a:cubicBezTo>
                  <a:pt x="120252" y="155158"/>
                  <a:pt x="118448" y="163813"/>
                  <a:pt x="120075" y="172352"/>
                </a:cubicBezTo>
                <a:cubicBezTo>
                  <a:pt x="121694" y="180886"/>
                  <a:pt x="126540" y="188277"/>
                  <a:pt x="133712" y="193169"/>
                </a:cubicBezTo>
                <a:cubicBezTo>
                  <a:pt x="140893" y="198057"/>
                  <a:pt x="149553" y="199885"/>
                  <a:pt x="158092" y="198243"/>
                </a:cubicBezTo>
                <a:cubicBezTo>
                  <a:pt x="166631" y="196625"/>
                  <a:pt x="174026" y="191779"/>
                  <a:pt x="178909" y="184593"/>
                </a:cubicBezTo>
                <a:lnTo>
                  <a:pt x="245789" y="86394"/>
                </a:lnTo>
                <a:cubicBezTo>
                  <a:pt x="247547" y="83804"/>
                  <a:pt x="250477" y="82246"/>
                  <a:pt x="253621" y="82227"/>
                </a:cubicBezTo>
                <a:lnTo>
                  <a:pt x="323598" y="81962"/>
                </a:lnTo>
                <a:cubicBezTo>
                  <a:pt x="327458" y="81874"/>
                  <a:pt x="330337" y="83850"/>
                  <a:pt x="332016" y="86943"/>
                </a:cubicBezTo>
                <a:cubicBezTo>
                  <a:pt x="333690" y="90031"/>
                  <a:pt x="333537" y="93775"/>
                  <a:pt x="331607" y="96710"/>
                </a:cubicBezTo>
                <a:lnTo>
                  <a:pt x="223985" y="260761"/>
                </a:lnTo>
                <a:cubicBezTo>
                  <a:pt x="220376" y="266132"/>
                  <a:pt x="202377" y="295098"/>
                  <a:pt x="202377" y="337844"/>
                </a:cubicBezTo>
                <a:cubicBezTo>
                  <a:pt x="202377" y="360447"/>
                  <a:pt x="200936" y="445149"/>
                  <a:pt x="200070" y="493621"/>
                </a:cubicBezTo>
                <a:cubicBezTo>
                  <a:pt x="199977" y="498755"/>
                  <a:pt x="195857" y="502829"/>
                  <a:pt x="190666" y="502904"/>
                </a:cubicBezTo>
                <a:lnTo>
                  <a:pt x="50898" y="504606"/>
                </a:lnTo>
                <a:cubicBezTo>
                  <a:pt x="32797" y="504820"/>
                  <a:pt x="17458" y="518745"/>
                  <a:pt x="16696" y="535637"/>
                </a:cubicBezTo>
                <a:cubicBezTo>
                  <a:pt x="16296" y="544632"/>
                  <a:pt x="19477" y="553143"/>
                  <a:pt x="25672" y="559617"/>
                </a:cubicBezTo>
                <a:cubicBezTo>
                  <a:pt x="31848" y="566081"/>
                  <a:pt x="40164" y="569653"/>
                  <a:pt x="49512" y="569653"/>
                </a:cubicBezTo>
                <a:cubicBezTo>
                  <a:pt x="49540" y="569653"/>
                  <a:pt x="49559" y="569653"/>
                  <a:pt x="49587" y="569653"/>
                </a:cubicBezTo>
                <a:lnTo>
                  <a:pt x="232264" y="567430"/>
                </a:lnTo>
                <a:cubicBezTo>
                  <a:pt x="249947" y="567226"/>
                  <a:pt x="264048" y="553208"/>
                  <a:pt x="264374" y="535516"/>
                </a:cubicBezTo>
                <a:cubicBezTo>
                  <a:pt x="264467" y="530791"/>
                  <a:pt x="265946" y="450823"/>
                  <a:pt x="266811" y="392492"/>
                </a:cubicBezTo>
                <a:cubicBezTo>
                  <a:pt x="266876" y="388139"/>
                  <a:pt x="269759" y="384493"/>
                  <a:pt x="273982" y="383432"/>
                </a:cubicBezTo>
                <a:cubicBezTo>
                  <a:pt x="278196" y="382353"/>
                  <a:pt x="282521" y="384213"/>
                  <a:pt x="284651" y="388055"/>
                </a:cubicBezTo>
                <a:lnTo>
                  <a:pt x="357186" y="518382"/>
                </a:lnTo>
                <a:cubicBezTo>
                  <a:pt x="357986" y="519815"/>
                  <a:pt x="358405" y="521442"/>
                  <a:pt x="358396" y="523089"/>
                </a:cubicBezTo>
                <a:lnTo>
                  <a:pt x="357335" y="683060"/>
                </a:lnTo>
                <a:cubicBezTo>
                  <a:pt x="357224" y="700994"/>
                  <a:pt x="371716" y="715682"/>
                  <a:pt x="389868" y="715803"/>
                </a:cubicBezTo>
                <a:cubicBezTo>
                  <a:pt x="407681" y="715803"/>
                  <a:pt x="422266" y="701310"/>
                  <a:pt x="422383" y="683507"/>
                </a:cubicBezTo>
                <a:lnTo>
                  <a:pt x="423513" y="512466"/>
                </a:lnTo>
                <a:cubicBezTo>
                  <a:pt x="423550" y="506866"/>
                  <a:pt x="422131" y="501323"/>
                  <a:pt x="419406" y="496430"/>
                </a:cubicBezTo>
                <a:lnTo>
                  <a:pt x="341085" y="355694"/>
                </a:lnTo>
                <a:lnTo>
                  <a:pt x="444842" y="193193"/>
                </a:lnTo>
                <a:cubicBezTo>
                  <a:pt x="446637" y="190379"/>
                  <a:pt x="449641" y="188784"/>
                  <a:pt x="452823" y="188784"/>
                </a:cubicBezTo>
                <a:cubicBezTo>
                  <a:pt x="453739" y="188784"/>
                  <a:pt x="454664" y="188914"/>
                  <a:pt x="455580" y="189188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7" name="Shape0_20220526_193751">
            <a:extLst>
              <a:ext uri="{FF2B5EF4-FFF2-40B4-BE49-F238E27FC236}">
                <a16:creationId xmlns:a16="http://schemas.microsoft.com/office/drawing/2014/main" id="{2849973E-30B3-2E6B-EF51-D80F7911C071}"/>
              </a:ext>
            </a:extLst>
          </p:cNvPr>
          <p:cNvSpPr/>
          <p:nvPr/>
        </p:nvSpPr>
        <p:spPr>
          <a:xfrm>
            <a:off x="617227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8" name="Google Shape;634;p20">
            <a:extLst>
              <a:ext uri="{FF2B5EF4-FFF2-40B4-BE49-F238E27FC236}">
                <a16:creationId xmlns:a16="http://schemas.microsoft.com/office/drawing/2014/main" id="{D634E824-18CF-443A-79BB-E1FB138FF7EC}"/>
              </a:ext>
            </a:extLst>
          </p:cNvPr>
          <p:cNvSpPr/>
          <p:nvPr/>
        </p:nvSpPr>
        <p:spPr>
          <a:xfrm>
            <a:off x="72371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3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637;p20">
            <a:extLst>
              <a:ext uri="{FF2B5EF4-FFF2-40B4-BE49-F238E27FC236}">
                <a16:creationId xmlns:a16="http://schemas.microsoft.com/office/drawing/2014/main" id="{F5A3E0D2-D846-59C2-309F-2193447C91FA}"/>
              </a:ext>
            </a:extLst>
          </p:cNvPr>
          <p:cNvSpPr/>
          <p:nvPr/>
        </p:nvSpPr>
        <p:spPr>
          <a:xfrm>
            <a:off x="3300248" y="1366397"/>
            <a:ext cx="792899" cy="7928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2C22F87-8933-7741-E053-AD1155037AA7}"/>
              </a:ext>
            </a:extLst>
          </p:cNvPr>
          <p:cNvSpPr/>
          <p:nvPr/>
        </p:nvSpPr>
        <p:spPr>
          <a:xfrm>
            <a:off x="3533487" y="1571503"/>
            <a:ext cx="326423" cy="489631"/>
          </a:xfrm>
          <a:custGeom>
            <a:avLst/>
            <a:gdLst>
              <a:gd name="connsiteX0" fmla="*/ 64244 w 476250"/>
              <a:gd name="connsiteY0" fmla="*/ 708403 h 714375"/>
              <a:gd name="connsiteX1" fmla="*/ 50747 w 476250"/>
              <a:gd name="connsiteY1" fmla="*/ 706479 h 714375"/>
              <a:gd name="connsiteX2" fmla="*/ 15142 w 476250"/>
              <a:gd name="connsiteY2" fmla="*/ 676237 h 714375"/>
              <a:gd name="connsiteX3" fmla="*/ 14942 w 476250"/>
              <a:gd name="connsiteY3" fmla="*/ 635908 h 714375"/>
              <a:gd name="connsiteX4" fmla="*/ 15419 w 476250"/>
              <a:gd name="connsiteY4" fmla="*/ 635003 h 714375"/>
              <a:gd name="connsiteX5" fmla="*/ 106316 w 476250"/>
              <a:gd name="connsiteY5" fmla="*/ 484327 h 714375"/>
              <a:gd name="connsiteX6" fmla="*/ 145883 w 476250"/>
              <a:gd name="connsiteY6" fmla="*/ 340043 h 714375"/>
              <a:gd name="connsiteX7" fmla="*/ 140196 w 476250"/>
              <a:gd name="connsiteY7" fmla="*/ 311096 h 714375"/>
              <a:gd name="connsiteX8" fmla="*/ 139863 w 476250"/>
              <a:gd name="connsiteY8" fmla="*/ 310077 h 714375"/>
              <a:gd name="connsiteX9" fmla="*/ 137253 w 476250"/>
              <a:gd name="connsiteY9" fmla="*/ 257842 h 714375"/>
              <a:gd name="connsiteX10" fmla="*/ 156303 w 476250"/>
              <a:gd name="connsiteY10" fmla="*/ 148438 h 714375"/>
              <a:gd name="connsiteX11" fmla="*/ 119908 w 476250"/>
              <a:gd name="connsiteY11" fmla="*/ 180032 h 714375"/>
              <a:gd name="connsiteX12" fmla="*/ 96381 w 476250"/>
              <a:gd name="connsiteY12" fmla="*/ 280407 h 714375"/>
              <a:gd name="connsiteX13" fmla="*/ 51614 w 476250"/>
              <a:gd name="connsiteY13" fmla="*/ 325679 h 714375"/>
              <a:gd name="connsiteX14" fmla="*/ 51604 w 476250"/>
              <a:gd name="connsiteY14" fmla="*/ 325679 h 714375"/>
              <a:gd name="connsiteX15" fmla="*/ 18438 w 476250"/>
              <a:gd name="connsiteY15" fmla="*/ 310953 h 714375"/>
              <a:gd name="connsiteX16" fmla="*/ 7322 w 476250"/>
              <a:gd name="connsiteY16" fmla="*/ 278835 h 714375"/>
              <a:gd name="connsiteX17" fmla="*/ 7551 w 476250"/>
              <a:gd name="connsiteY17" fmla="*/ 277501 h 714375"/>
              <a:gd name="connsiteX18" fmla="*/ 38717 w 476250"/>
              <a:gd name="connsiteY18" fmla="*/ 149095 h 714375"/>
              <a:gd name="connsiteX19" fmla="*/ 61262 w 476250"/>
              <a:gd name="connsiteY19" fmla="*/ 109623 h 714375"/>
              <a:gd name="connsiteX20" fmla="*/ 191660 w 476250"/>
              <a:gd name="connsiteY20" fmla="*/ 16478 h 714375"/>
              <a:gd name="connsiteX21" fmla="*/ 239980 w 476250"/>
              <a:gd name="connsiteY21" fmla="*/ 7144 h 714375"/>
              <a:gd name="connsiteX22" fmla="*/ 325886 w 476250"/>
              <a:gd name="connsiteY22" fmla="*/ 42034 h 714375"/>
              <a:gd name="connsiteX23" fmla="*/ 327467 w 476250"/>
              <a:gd name="connsiteY23" fmla="*/ 44291 h 714375"/>
              <a:gd name="connsiteX24" fmla="*/ 389151 w 476250"/>
              <a:gd name="connsiteY24" fmla="*/ 167554 h 714375"/>
              <a:gd name="connsiteX25" fmla="*/ 459369 w 476250"/>
              <a:gd name="connsiteY25" fmla="*/ 221332 h 714375"/>
              <a:gd name="connsiteX26" fmla="*/ 461151 w 476250"/>
              <a:gd name="connsiteY26" fmla="*/ 287988 h 714375"/>
              <a:gd name="connsiteX27" fmla="*/ 438262 w 476250"/>
              <a:gd name="connsiteY27" fmla="*/ 296418 h 714375"/>
              <a:gd name="connsiteX28" fmla="*/ 398848 w 476250"/>
              <a:gd name="connsiteY28" fmla="*/ 279473 h 714375"/>
              <a:gd name="connsiteX29" fmla="*/ 338211 w 476250"/>
              <a:gd name="connsiteY29" fmla="*/ 233296 h 714375"/>
              <a:gd name="connsiteX30" fmla="*/ 308598 w 476250"/>
              <a:gd name="connsiteY30" fmla="*/ 190910 h 714375"/>
              <a:gd name="connsiteX31" fmla="*/ 294254 w 476250"/>
              <a:gd name="connsiteY31" fmla="*/ 284340 h 714375"/>
              <a:gd name="connsiteX32" fmla="*/ 296835 w 476250"/>
              <a:gd name="connsiteY32" fmla="*/ 301752 h 714375"/>
              <a:gd name="connsiteX33" fmla="*/ 297463 w 476250"/>
              <a:gd name="connsiteY33" fmla="*/ 302638 h 714375"/>
              <a:gd name="connsiteX34" fmla="*/ 395152 w 476250"/>
              <a:gd name="connsiteY34" fmla="*/ 459162 h 714375"/>
              <a:gd name="connsiteX35" fmla="*/ 395438 w 476250"/>
              <a:gd name="connsiteY35" fmla="*/ 461105 h 714375"/>
              <a:gd name="connsiteX36" fmla="*/ 422384 w 476250"/>
              <a:gd name="connsiteY36" fmla="*/ 638766 h 714375"/>
              <a:gd name="connsiteX37" fmla="*/ 386303 w 476250"/>
              <a:gd name="connsiteY37" fmla="*/ 705260 h 714375"/>
              <a:gd name="connsiteX38" fmla="*/ 372930 w 476250"/>
              <a:gd name="connsiteY38" fmla="*/ 706993 h 714375"/>
              <a:gd name="connsiteX39" fmla="*/ 323105 w 476250"/>
              <a:gd name="connsiteY39" fmla="*/ 666969 h 714375"/>
              <a:gd name="connsiteX40" fmla="*/ 299292 w 476250"/>
              <a:gd name="connsiteY40" fmla="*/ 510826 h 714375"/>
              <a:gd name="connsiteX41" fmla="*/ 246267 w 476250"/>
              <a:gd name="connsiteY41" fmla="*/ 422519 h 714375"/>
              <a:gd name="connsiteX42" fmla="*/ 206738 w 476250"/>
              <a:gd name="connsiteY42" fmla="*/ 532267 h 714375"/>
              <a:gd name="connsiteX43" fmla="*/ 117089 w 476250"/>
              <a:gd name="connsiteY43" fmla="*/ 668788 h 714375"/>
              <a:gd name="connsiteX44" fmla="*/ 64244 w 476250"/>
              <a:gd name="connsiteY44" fmla="*/ 708403 h 714375"/>
              <a:gd name="connsiteX45" fmla="*/ 32011 w 476250"/>
              <a:gd name="connsiteY45" fmla="*/ 644376 h 714375"/>
              <a:gd name="connsiteX46" fmla="*/ 32440 w 476250"/>
              <a:gd name="connsiteY46" fmla="*/ 668265 h 714375"/>
              <a:gd name="connsiteX47" fmla="*/ 55852 w 476250"/>
              <a:gd name="connsiteY47" fmla="*/ 688124 h 714375"/>
              <a:gd name="connsiteX48" fmla="*/ 100906 w 476250"/>
              <a:gd name="connsiteY48" fmla="*/ 658740 h 714375"/>
              <a:gd name="connsiteX49" fmla="*/ 190183 w 476250"/>
              <a:gd name="connsiteY49" fmla="*/ 522770 h 714375"/>
              <a:gd name="connsiteX50" fmla="*/ 241876 w 476250"/>
              <a:gd name="connsiteY50" fmla="*/ 378209 h 714375"/>
              <a:gd name="connsiteX51" fmla="*/ 317561 w 476250"/>
              <a:gd name="connsiteY51" fmla="*/ 504234 h 714375"/>
              <a:gd name="connsiteX52" fmla="*/ 341755 w 476250"/>
              <a:gd name="connsiteY52" fmla="*/ 663226 h 714375"/>
              <a:gd name="connsiteX53" fmla="*/ 381531 w 476250"/>
              <a:gd name="connsiteY53" fmla="*/ 686829 h 714375"/>
              <a:gd name="connsiteX54" fmla="*/ 403658 w 476250"/>
              <a:gd name="connsiteY54" fmla="*/ 642223 h 714375"/>
              <a:gd name="connsiteX55" fmla="*/ 376892 w 476250"/>
              <a:gd name="connsiteY55" fmla="*/ 465906 h 714375"/>
              <a:gd name="connsiteX56" fmla="*/ 281500 w 476250"/>
              <a:gd name="connsiteY56" fmla="*/ 313077 h 714375"/>
              <a:gd name="connsiteX57" fmla="*/ 275508 w 476250"/>
              <a:gd name="connsiteY57" fmla="*/ 280959 h 714375"/>
              <a:gd name="connsiteX58" fmla="*/ 298921 w 476250"/>
              <a:gd name="connsiteY58" fmla="*/ 128397 h 714375"/>
              <a:gd name="connsiteX59" fmla="*/ 312246 w 476250"/>
              <a:gd name="connsiteY59" fmla="*/ 156105 h 714375"/>
              <a:gd name="connsiteX60" fmla="*/ 348584 w 476250"/>
              <a:gd name="connsiteY60" fmla="*/ 217341 h 714375"/>
              <a:gd name="connsiteX61" fmla="*/ 349432 w 476250"/>
              <a:gd name="connsiteY61" fmla="*/ 217922 h 714375"/>
              <a:gd name="connsiteX62" fmla="*/ 411973 w 476250"/>
              <a:gd name="connsiteY62" fmla="*/ 265690 h 714375"/>
              <a:gd name="connsiteX63" fmla="*/ 438243 w 476250"/>
              <a:gd name="connsiteY63" fmla="*/ 277378 h 714375"/>
              <a:gd name="connsiteX64" fmla="*/ 448120 w 476250"/>
              <a:gd name="connsiteY64" fmla="*/ 274091 h 714375"/>
              <a:gd name="connsiteX65" fmla="*/ 445920 w 476250"/>
              <a:gd name="connsiteY65" fmla="*/ 234877 h 714375"/>
              <a:gd name="connsiteX66" fmla="*/ 374073 w 476250"/>
              <a:gd name="connsiteY66" fmla="*/ 180032 h 714375"/>
              <a:gd name="connsiteX67" fmla="*/ 311122 w 476250"/>
              <a:gd name="connsiteY67" fmla="*/ 54226 h 714375"/>
              <a:gd name="connsiteX68" fmla="*/ 239980 w 476250"/>
              <a:gd name="connsiteY68" fmla="*/ 26203 h 714375"/>
              <a:gd name="connsiteX69" fmla="*/ 199613 w 476250"/>
              <a:gd name="connsiteY69" fmla="*/ 33842 h 714375"/>
              <a:gd name="connsiteX70" fmla="*/ 71626 w 476250"/>
              <a:gd name="connsiteY70" fmla="*/ 125587 h 714375"/>
              <a:gd name="connsiteX71" fmla="*/ 57376 w 476250"/>
              <a:gd name="connsiteY71" fmla="*/ 152781 h 714375"/>
              <a:gd name="connsiteX72" fmla="*/ 26220 w 476250"/>
              <a:gd name="connsiteY72" fmla="*/ 281273 h 714375"/>
              <a:gd name="connsiteX73" fmla="*/ 32526 w 476250"/>
              <a:gd name="connsiteY73" fmla="*/ 298142 h 714375"/>
              <a:gd name="connsiteX74" fmla="*/ 51242 w 476250"/>
              <a:gd name="connsiteY74" fmla="*/ 306638 h 714375"/>
              <a:gd name="connsiteX75" fmla="*/ 77712 w 476250"/>
              <a:gd name="connsiteY75" fmla="*/ 276606 h 714375"/>
              <a:gd name="connsiteX76" fmla="*/ 102744 w 476250"/>
              <a:gd name="connsiteY76" fmla="*/ 169697 h 714375"/>
              <a:gd name="connsiteX77" fmla="*/ 184230 w 476250"/>
              <a:gd name="connsiteY77" fmla="*/ 98936 h 714375"/>
              <a:gd name="connsiteX78" fmla="*/ 155665 w 476250"/>
              <a:gd name="connsiteY78" fmla="*/ 262633 h 714375"/>
              <a:gd name="connsiteX79" fmla="*/ 158141 w 476250"/>
              <a:gd name="connsiteY79" fmla="*/ 304752 h 714375"/>
              <a:gd name="connsiteX80" fmla="*/ 164418 w 476250"/>
              <a:gd name="connsiteY80" fmla="*/ 344224 h 714375"/>
              <a:gd name="connsiteX81" fmla="*/ 123308 w 476250"/>
              <a:gd name="connsiteY81" fmla="*/ 493043 h 714375"/>
              <a:gd name="connsiteX82" fmla="*/ 32011 w 476250"/>
              <a:gd name="connsiteY82" fmla="*/ 644376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76250" h="714375">
                <a:moveTo>
                  <a:pt x="64244" y="708403"/>
                </a:moveTo>
                <a:cubicBezTo>
                  <a:pt x="59862" y="708403"/>
                  <a:pt x="55309" y="707765"/>
                  <a:pt x="50747" y="706479"/>
                </a:cubicBezTo>
                <a:cubicBezTo>
                  <a:pt x="35193" y="702164"/>
                  <a:pt x="21877" y="690848"/>
                  <a:pt x="15142" y="676237"/>
                </a:cubicBezTo>
                <a:cubicBezTo>
                  <a:pt x="9056" y="663035"/>
                  <a:pt x="8980" y="648700"/>
                  <a:pt x="14942" y="635908"/>
                </a:cubicBezTo>
                <a:lnTo>
                  <a:pt x="15419" y="635003"/>
                </a:lnTo>
                <a:lnTo>
                  <a:pt x="106316" y="484327"/>
                </a:lnTo>
                <a:lnTo>
                  <a:pt x="145883" y="340043"/>
                </a:lnTo>
                <a:cubicBezTo>
                  <a:pt x="147235" y="332127"/>
                  <a:pt x="142111" y="316030"/>
                  <a:pt x="140196" y="311096"/>
                </a:cubicBezTo>
                <a:lnTo>
                  <a:pt x="139863" y="310077"/>
                </a:lnTo>
                <a:cubicBezTo>
                  <a:pt x="132186" y="280797"/>
                  <a:pt x="136262" y="261690"/>
                  <a:pt x="137253" y="257842"/>
                </a:cubicBezTo>
                <a:lnTo>
                  <a:pt x="156303" y="148438"/>
                </a:lnTo>
                <a:lnTo>
                  <a:pt x="119908" y="180032"/>
                </a:lnTo>
                <a:lnTo>
                  <a:pt x="96381" y="280407"/>
                </a:lnTo>
                <a:cubicBezTo>
                  <a:pt x="91495" y="308372"/>
                  <a:pt x="74721" y="325479"/>
                  <a:pt x="51614" y="325679"/>
                </a:cubicBezTo>
                <a:cubicBezTo>
                  <a:pt x="51614" y="325679"/>
                  <a:pt x="51614" y="325679"/>
                  <a:pt x="51604" y="325679"/>
                </a:cubicBezTo>
                <a:cubicBezTo>
                  <a:pt x="38898" y="325679"/>
                  <a:pt x="26944" y="320316"/>
                  <a:pt x="18438" y="310953"/>
                </a:cubicBezTo>
                <a:cubicBezTo>
                  <a:pt x="10275" y="301971"/>
                  <a:pt x="6218" y="290255"/>
                  <a:pt x="7322" y="278835"/>
                </a:cubicBezTo>
                <a:lnTo>
                  <a:pt x="7551" y="277501"/>
                </a:lnTo>
                <a:lnTo>
                  <a:pt x="38717" y="149095"/>
                </a:lnTo>
                <a:cubicBezTo>
                  <a:pt x="42965" y="121110"/>
                  <a:pt x="59405" y="110719"/>
                  <a:pt x="61262" y="109623"/>
                </a:cubicBezTo>
                <a:lnTo>
                  <a:pt x="191660" y="16478"/>
                </a:lnTo>
                <a:cubicBezTo>
                  <a:pt x="207786" y="10287"/>
                  <a:pt x="224045" y="7144"/>
                  <a:pt x="239980" y="7144"/>
                </a:cubicBezTo>
                <a:cubicBezTo>
                  <a:pt x="292510" y="7144"/>
                  <a:pt x="324553" y="40615"/>
                  <a:pt x="325886" y="42034"/>
                </a:cubicBezTo>
                <a:lnTo>
                  <a:pt x="327467" y="44291"/>
                </a:lnTo>
                <a:lnTo>
                  <a:pt x="389151" y="167554"/>
                </a:lnTo>
                <a:lnTo>
                  <a:pt x="459369" y="221332"/>
                </a:lnTo>
                <a:cubicBezTo>
                  <a:pt x="478705" y="242183"/>
                  <a:pt x="479467" y="270834"/>
                  <a:pt x="461151" y="287988"/>
                </a:cubicBezTo>
                <a:cubicBezTo>
                  <a:pt x="455255" y="293503"/>
                  <a:pt x="447339" y="296418"/>
                  <a:pt x="438262" y="296418"/>
                </a:cubicBezTo>
                <a:cubicBezTo>
                  <a:pt x="424737" y="296418"/>
                  <a:pt x="409011" y="289627"/>
                  <a:pt x="398848" y="279473"/>
                </a:cubicBezTo>
                <a:lnTo>
                  <a:pt x="338211" y="233296"/>
                </a:lnTo>
                <a:cubicBezTo>
                  <a:pt x="329839" y="227743"/>
                  <a:pt x="318190" y="208683"/>
                  <a:pt x="308598" y="190910"/>
                </a:cubicBezTo>
                <a:lnTo>
                  <a:pt x="294254" y="284340"/>
                </a:lnTo>
                <a:cubicBezTo>
                  <a:pt x="292025" y="295113"/>
                  <a:pt x="296787" y="301685"/>
                  <a:pt x="296835" y="301752"/>
                </a:cubicBezTo>
                <a:lnTo>
                  <a:pt x="297463" y="302638"/>
                </a:lnTo>
                <a:lnTo>
                  <a:pt x="395152" y="459162"/>
                </a:lnTo>
                <a:lnTo>
                  <a:pt x="395438" y="461105"/>
                </a:lnTo>
                <a:lnTo>
                  <a:pt x="422384" y="638766"/>
                </a:lnTo>
                <a:cubicBezTo>
                  <a:pt x="429394" y="670903"/>
                  <a:pt x="414935" y="697859"/>
                  <a:pt x="386303" y="705260"/>
                </a:cubicBezTo>
                <a:cubicBezTo>
                  <a:pt x="381874" y="706412"/>
                  <a:pt x="377369" y="706993"/>
                  <a:pt x="372930" y="706993"/>
                </a:cubicBezTo>
                <a:cubicBezTo>
                  <a:pt x="349098" y="706993"/>
                  <a:pt x="329077" y="690915"/>
                  <a:pt x="323105" y="666969"/>
                </a:cubicBezTo>
                <a:lnTo>
                  <a:pt x="299292" y="510826"/>
                </a:lnTo>
                <a:lnTo>
                  <a:pt x="246267" y="422519"/>
                </a:lnTo>
                <a:lnTo>
                  <a:pt x="206738" y="532267"/>
                </a:lnTo>
                <a:lnTo>
                  <a:pt x="117089" y="668788"/>
                </a:lnTo>
                <a:cubicBezTo>
                  <a:pt x="107230" y="685562"/>
                  <a:pt x="90742" y="708403"/>
                  <a:pt x="64244" y="708403"/>
                </a:cubicBezTo>
                <a:close/>
                <a:moveTo>
                  <a:pt x="32011" y="644376"/>
                </a:moveTo>
                <a:cubicBezTo>
                  <a:pt x="28649" y="651910"/>
                  <a:pt x="28801" y="660378"/>
                  <a:pt x="32440" y="668265"/>
                </a:cubicBezTo>
                <a:cubicBezTo>
                  <a:pt x="36859" y="677856"/>
                  <a:pt x="45613" y="685286"/>
                  <a:pt x="55852" y="688124"/>
                </a:cubicBezTo>
                <a:cubicBezTo>
                  <a:pt x="72788" y="692887"/>
                  <a:pt x="86066" y="683971"/>
                  <a:pt x="100906" y="658740"/>
                </a:cubicBezTo>
                <a:lnTo>
                  <a:pt x="190183" y="522770"/>
                </a:lnTo>
                <a:lnTo>
                  <a:pt x="241876" y="378209"/>
                </a:lnTo>
                <a:lnTo>
                  <a:pt x="317561" y="504234"/>
                </a:lnTo>
                <a:lnTo>
                  <a:pt x="341755" y="663226"/>
                </a:lnTo>
                <a:cubicBezTo>
                  <a:pt x="346089" y="680409"/>
                  <a:pt x="363586" y="691477"/>
                  <a:pt x="381531" y="686829"/>
                </a:cubicBezTo>
                <a:cubicBezTo>
                  <a:pt x="400124" y="682019"/>
                  <a:pt x="408601" y="664931"/>
                  <a:pt x="403658" y="642223"/>
                </a:cubicBezTo>
                <a:lnTo>
                  <a:pt x="376892" y="465906"/>
                </a:lnTo>
                <a:lnTo>
                  <a:pt x="281500" y="313077"/>
                </a:lnTo>
                <a:cubicBezTo>
                  <a:pt x="279414" y="310220"/>
                  <a:pt x="271870" y="298361"/>
                  <a:pt x="275508" y="280959"/>
                </a:cubicBezTo>
                <a:lnTo>
                  <a:pt x="298921" y="128397"/>
                </a:lnTo>
                <a:lnTo>
                  <a:pt x="312246" y="156105"/>
                </a:lnTo>
                <a:cubicBezTo>
                  <a:pt x="324991" y="182594"/>
                  <a:pt x="342631" y="213512"/>
                  <a:pt x="348584" y="217341"/>
                </a:cubicBezTo>
                <a:lnTo>
                  <a:pt x="349432" y="217922"/>
                </a:lnTo>
                <a:lnTo>
                  <a:pt x="411973" y="265690"/>
                </a:lnTo>
                <a:cubicBezTo>
                  <a:pt x="418536" y="272463"/>
                  <a:pt x="429585" y="277378"/>
                  <a:pt x="438243" y="277378"/>
                </a:cubicBezTo>
                <a:cubicBezTo>
                  <a:pt x="442453" y="277378"/>
                  <a:pt x="445787" y="276273"/>
                  <a:pt x="448120" y="274091"/>
                </a:cubicBezTo>
                <a:cubicBezTo>
                  <a:pt x="458560" y="264319"/>
                  <a:pt x="457598" y="247926"/>
                  <a:pt x="445920" y="234877"/>
                </a:cubicBezTo>
                <a:lnTo>
                  <a:pt x="374073" y="180032"/>
                </a:lnTo>
                <a:lnTo>
                  <a:pt x="311122" y="54226"/>
                </a:lnTo>
                <a:cubicBezTo>
                  <a:pt x="306093" y="49425"/>
                  <a:pt x="279652" y="26203"/>
                  <a:pt x="239980" y="26203"/>
                </a:cubicBezTo>
                <a:cubicBezTo>
                  <a:pt x="226750" y="26203"/>
                  <a:pt x="213177" y="28775"/>
                  <a:pt x="199613" y="33842"/>
                </a:cubicBezTo>
                <a:lnTo>
                  <a:pt x="71626" y="125587"/>
                </a:lnTo>
                <a:cubicBezTo>
                  <a:pt x="70616" y="126244"/>
                  <a:pt x="60415" y="132979"/>
                  <a:pt x="57376" y="152781"/>
                </a:cubicBezTo>
                <a:lnTo>
                  <a:pt x="26220" y="281273"/>
                </a:lnTo>
                <a:cubicBezTo>
                  <a:pt x="25839" y="287179"/>
                  <a:pt x="28116" y="293294"/>
                  <a:pt x="32526" y="298142"/>
                </a:cubicBezTo>
                <a:cubicBezTo>
                  <a:pt x="37431" y="303533"/>
                  <a:pt x="44251" y="306638"/>
                  <a:pt x="51242" y="306638"/>
                </a:cubicBezTo>
                <a:cubicBezTo>
                  <a:pt x="69749" y="306486"/>
                  <a:pt x="75760" y="287750"/>
                  <a:pt x="77712" y="276606"/>
                </a:cubicBezTo>
                <a:lnTo>
                  <a:pt x="102744" y="169697"/>
                </a:lnTo>
                <a:lnTo>
                  <a:pt x="184230" y="98936"/>
                </a:lnTo>
                <a:lnTo>
                  <a:pt x="155665" y="262633"/>
                </a:lnTo>
                <a:cubicBezTo>
                  <a:pt x="155646" y="262719"/>
                  <a:pt x="151359" y="278492"/>
                  <a:pt x="158141" y="304752"/>
                </a:cubicBezTo>
                <a:cubicBezTo>
                  <a:pt x="159722" y="308934"/>
                  <a:pt x="167019" y="329479"/>
                  <a:pt x="164418" y="344224"/>
                </a:cubicBezTo>
                <a:lnTo>
                  <a:pt x="123308" y="493043"/>
                </a:lnTo>
                <a:lnTo>
                  <a:pt x="32011" y="64437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69C5CD44-1712-7A5F-21B7-D0F8EAF2ADB9}"/>
              </a:ext>
            </a:extLst>
          </p:cNvPr>
          <p:cNvSpPr/>
          <p:nvPr/>
        </p:nvSpPr>
        <p:spPr>
          <a:xfrm>
            <a:off x="3680330" y="1464555"/>
            <a:ext cx="110984" cy="117512"/>
          </a:xfrm>
          <a:custGeom>
            <a:avLst/>
            <a:gdLst>
              <a:gd name="connsiteX0" fmla="*/ 85231 w 161925"/>
              <a:gd name="connsiteY0" fmla="*/ 166421 h 171450"/>
              <a:gd name="connsiteX1" fmla="*/ 8497 w 161925"/>
              <a:gd name="connsiteY1" fmla="*/ 100679 h 171450"/>
              <a:gd name="connsiteX2" fmla="*/ 70038 w 161925"/>
              <a:gd name="connsiteY2" fmla="*/ 8372 h 171450"/>
              <a:gd name="connsiteX3" fmla="*/ 83573 w 161925"/>
              <a:gd name="connsiteY3" fmla="*/ 7144 h 171450"/>
              <a:gd name="connsiteX4" fmla="*/ 160297 w 161925"/>
              <a:gd name="connsiteY4" fmla="*/ 72885 h 171450"/>
              <a:gd name="connsiteX5" fmla="*/ 98766 w 161925"/>
              <a:gd name="connsiteY5" fmla="*/ 165192 h 171450"/>
              <a:gd name="connsiteX6" fmla="*/ 85231 w 161925"/>
              <a:gd name="connsiteY6" fmla="*/ 166421 h 171450"/>
              <a:gd name="connsiteX7" fmla="*/ 83573 w 161925"/>
              <a:gd name="connsiteY7" fmla="*/ 26184 h 171450"/>
              <a:gd name="connsiteX8" fmla="*/ 73467 w 161925"/>
              <a:gd name="connsiteY8" fmla="*/ 27108 h 171450"/>
              <a:gd name="connsiteX9" fmla="*/ 27233 w 161925"/>
              <a:gd name="connsiteY9" fmla="*/ 97250 h 171450"/>
              <a:gd name="connsiteX10" fmla="*/ 85221 w 161925"/>
              <a:gd name="connsiteY10" fmla="*/ 147380 h 171450"/>
              <a:gd name="connsiteX11" fmla="*/ 95327 w 161925"/>
              <a:gd name="connsiteY11" fmla="*/ 146456 h 171450"/>
              <a:gd name="connsiteX12" fmla="*/ 141562 w 161925"/>
              <a:gd name="connsiteY12" fmla="*/ 76314 h 171450"/>
              <a:gd name="connsiteX13" fmla="*/ 83573 w 161925"/>
              <a:gd name="connsiteY13" fmla="*/ 26184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1925" h="171450">
                <a:moveTo>
                  <a:pt x="85231" y="166421"/>
                </a:moveTo>
                <a:cubicBezTo>
                  <a:pt x="47740" y="166421"/>
                  <a:pt x="15479" y="138770"/>
                  <a:pt x="8497" y="100679"/>
                </a:cubicBezTo>
                <a:cubicBezTo>
                  <a:pt x="582" y="57445"/>
                  <a:pt x="28195" y="16040"/>
                  <a:pt x="70038" y="8372"/>
                </a:cubicBezTo>
                <a:cubicBezTo>
                  <a:pt x="74515" y="7553"/>
                  <a:pt x="79059" y="7144"/>
                  <a:pt x="83573" y="7144"/>
                </a:cubicBezTo>
                <a:cubicBezTo>
                  <a:pt x="121054" y="7144"/>
                  <a:pt x="153315" y="34795"/>
                  <a:pt x="160297" y="72885"/>
                </a:cubicBezTo>
                <a:cubicBezTo>
                  <a:pt x="168222" y="116119"/>
                  <a:pt x="140619" y="157524"/>
                  <a:pt x="98766" y="165192"/>
                </a:cubicBezTo>
                <a:cubicBezTo>
                  <a:pt x="94289" y="166002"/>
                  <a:pt x="89746" y="166421"/>
                  <a:pt x="85231" y="166421"/>
                </a:cubicBezTo>
                <a:close/>
                <a:moveTo>
                  <a:pt x="83573" y="26184"/>
                </a:moveTo>
                <a:cubicBezTo>
                  <a:pt x="80211" y="26184"/>
                  <a:pt x="76811" y="26489"/>
                  <a:pt x="73467" y="27108"/>
                </a:cubicBezTo>
                <a:cubicBezTo>
                  <a:pt x="41949" y="32880"/>
                  <a:pt x="21213" y="64351"/>
                  <a:pt x="27233" y="97250"/>
                </a:cubicBezTo>
                <a:cubicBezTo>
                  <a:pt x="32557" y="126292"/>
                  <a:pt x="56941" y="147380"/>
                  <a:pt x="85221" y="147380"/>
                </a:cubicBezTo>
                <a:cubicBezTo>
                  <a:pt x="88584" y="147380"/>
                  <a:pt x="91984" y="147076"/>
                  <a:pt x="95327" y="146456"/>
                </a:cubicBezTo>
                <a:cubicBezTo>
                  <a:pt x="126845" y="140684"/>
                  <a:pt x="147581" y="109214"/>
                  <a:pt x="141562" y="76314"/>
                </a:cubicBezTo>
                <a:cubicBezTo>
                  <a:pt x="136247" y="47263"/>
                  <a:pt x="111853" y="26184"/>
                  <a:pt x="83573" y="2618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3" name="Shape2_20220526_193751">
            <a:extLst>
              <a:ext uri="{FF2B5EF4-FFF2-40B4-BE49-F238E27FC236}">
                <a16:creationId xmlns:a16="http://schemas.microsoft.com/office/drawing/2014/main" id="{70789C0B-F9E4-69FC-B6C8-BF12250568CC}"/>
              </a:ext>
            </a:extLst>
          </p:cNvPr>
          <p:cNvSpPr/>
          <p:nvPr/>
        </p:nvSpPr>
        <p:spPr>
          <a:xfrm>
            <a:off x="8098853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4" name="Google Shape;636;p20">
            <a:extLst>
              <a:ext uri="{FF2B5EF4-FFF2-40B4-BE49-F238E27FC236}">
                <a16:creationId xmlns:a16="http://schemas.microsoft.com/office/drawing/2014/main" id="{8EC12DD4-36EF-EA6F-D1FC-0813B8C3AD35}"/>
              </a:ext>
            </a:extLst>
          </p:cNvPr>
          <p:cNvSpPr/>
          <p:nvPr/>
        </p:nvSpPr>
        <p:spPr>
          <a:xfrm>
            <a:off x="8153799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9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639;p20">
            <a:extLst>
              <a:ext uri="{FF2B5EF4-FFF2-40B4-BE49-F238E27FC236}">
                <a16:creationId xmlns:a16="http://schemas.microsoft.com/office/drawing/2014/main" id="{4DF373E9-015D-442B-6911-5394C534A5A8}"/>
              </a:ext>
            </a:extLst>
          </p:cNvPr>
          <p:cNvSpPr/>
          <p:nvPr/>
        </p:nvSpPr>
        <p:spPr>
          <a:xfrm>
            <a:off x="10786834" y="1366520"/>
            <a:ext cx="787939" cy="792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6" name="Graphic 20">
            <a:extLst>
              <a:ext uri="{FF2B5EF4-FFF2-40B4-BE49-F238E27FC236}">
                <a16:creationId xmlns:a16="http://schemas.microsoft.com/office/drawing/2014/main" id="{E0B309F5-1DCF-5DF8-F611-D270671718A5}"/>
              </a:ext>
            </a:extLst>
          </p:cNvPr>
          <p:cNvSpPr/>
          <p:nvPr/>
        </p:nvSpPr>
        <p:spPr>
          <a:xfrm flipH="1">
            <a:off x="10936976" y="1513885"/>
            <a:ext cx="487652" cy="497922"/>
          </a:xfrm>
          <a:custGeom>
            <a:avLst/>
            <a:gdLst>
              <a:gd name="connsiteX0" fmla="*/ 158401 w 904875"/>
              <a:gd name="connsiteY0" fmla="*/ 921163 h 923925"/>
              <a:gd name="connsiteX1" fmla="*/ 179261 w 904875"/>
              <a:gd name="connsiteY1" fmla="*/ 924401 h 923925"/>
              <a:gd name="connsiteX2" fmla="*/ 243554 w 904875"/>
              <a:gd name="connsiteY2" fmla="*/ 879824 h 923925"/>
              <a:gd name="connsiteX3" fmla="*/ 310229 w 904875"/>
              <a:gd name="connsiteY3" fmla="*/ 702183 h 923925"/>
              <a:gd name="connsiteX4" fmla="*/ 505873 w 904875"/>
              <a:gd name="connsiteY4" fmla="*/ 621030 h 923925"/>
              <a:gd name="connsiteX5" fmla="*/ 567976 w 904875"/>
              <a:gd name="connsiteY5" fmla="*/ 703231 h 923925"/>
              <a:gd name="connsiteX6" fmla="*/ 660940 w 904875"/>
              <a:gd name="connsiteY6" fmla="*/ 741902 h 923925"/>
              <a:gd name="connsiteX7" fmla="*/ 832390 w 904875"/>
              <a:gd name="connsiteY7" fmla="*/ 720376 h 923925"/>
              <a:gd name="connsiteX8" fmla="*/ 891684 w 904875"/>
              <a:gd name="connsiteY8" fmla="*/ 643455 h 923925"/>
              <a:gd name="connsiteX9" fmla="*/ 822865 w 904875"/>
              <a:gd name="connsiteY9" fmla="*/ 583597 h 923925"/>
              <a:gd name="connsiteX10" fmla="*/ 813816 w 904875"/>
              <a:gd name="connsiteY10" fmla="*/ 584168 h 923925"/>
              <a:gd name="connsiteX11" fmla="*/ 664274 w 904875"/>
              <a:gd name="connsiteY11" fmla="*/ 603218 h 923925"/>
              <a:gd name="connsiteX12" fmla="*/ 585121 w 904875"/>
              <a:gd name="connsiteY12" fmla="*/ 498443 h 923925"/>
              <a:gd name="connsiteX13" fmla="*/ 458438 w 904875"/>
              <a:gd name="connsiteY13" fmla="*/ 306610 h 923925"/>
              <a:gd name="connsiteX14" fmla="*/ 625697 w 904875"/>
              <a:gd name="connsiteY14" fmla="*/ 300704 h 923925"/>
              <a:gd name="connsiteX15" fmla="*/ 653701 w 904875"/>
              <a:gd name="connsiteY15" fmla="*/ 295751 h 923925"/>
              <a:gd name="connsiteX16" fmla="*/ 701993 w 904875"/>
              <a:gd name="connsiteY16" fmla="*/ 227362 h 923925"/>
              <a:gd name="connsiteX17" fmla="*/ 633603 w 904875"/>
              <a:gd name="connsiteY17" fmla="*/ 179070 h 923925"/>
              <a:gd name="connsiteX18" fmla="*/ 612648 w 904875"/>
              <a:gd name="connsiteY18" fmla="*/ 182785 h 923925"/>
              <a:gd name="connsiteX19" fmla="*/ 412623 w 904875"/>
              <a:gd name="connsiteY19" fmla="*/ 182785 h 923925"/>
              <a:gd name="connsiteX20" fmla="*/ 330899 w 904875"/>
              <a:gd name="connsiteY20" fmla="*/ 168021 h 923925"/>
              <a:gd name="connsiteX21" fmla="*/ 322612 w 904875"/>
              <a:gd name="connsiteY21" fmla="*/ 166783 h 923925"/>
              <a:gd name="connsiteX22" fmla="*/ 316230 w 904875"/>
              <a:gd name="connsiteY22" fmla="*/ 166116 h 923925"/>
              <a:gd name="connsiteX23" fmla="*/ 232696 w 904875"/>
              <a:gd name="connsiteY23" fmla="*/ 190405 h 923925"/>
              <a:gd name="connsiteX24" fmla="*/ 211931 w 904875"/>
              <a:gd name="connsiteY24" fmla="*/ 341566 h 923925"/>
              <a:gd name="connsiteX25" fmla="*/ 343281 w 904875"/>
              <a:gd name="connsiteY25" fmla="*/ 539687 h 923925"/>
              <a:gd name="connsiteX26" fmla="*/ 242602 w 904875"/>
              <a:gd name="connsiteY26" fmla="*/ 581501 h 923925"/>
              <a:gd name="connsiteX27" fmla="*/ 187166 w 904875"/>
              <a:gd name="connsiteY27" fmla="*/ 638651 h 923925"/>
              <a:gd name="connsiteX28" fmla="*/ 109633 w 904875"/>
              <a:gd name="connsiteY28" fmla="*/ 845915 h 923925"/>
              <a:gd name="connsiteX29" fmla="*/ 114205 w 904875"/>
              <a:gd name="connsiteY29" fmla="*/ 898493 h 923925"/>
              <a:gd name="connsiteX30" fmla="*/ 158401 w 904875"/>
              <a:gd name="connsiteY30" fmla="*/ 921163 h 923925"/>
              <a:gd name="connsiteX31" fmla="*/ 145256 w 904875"/>
              <a:gd name="connsiteY31" fmla="*/ 859250 h 923925"/>
              <a:gd name="connsiteX32" fmla="*/ 222790 w 904875"/>
              <a:gd name="connsiteY32" fmla="*/ 652177 h 923925"/>
              <a:gd name="connsiteX33" fmla="*/ 257080 w 904875"/>
              <a:gd name="connsiteY33" fmla="*/ 616649 h 923925"/>
              <a:gd name="connsiteX34" fmla="*/ 379095 w 904875"/>
              <a:gd name="connsiteY34" fmla="*/ 566071 h 923925"/>
              <a:gd name="connsiteX35" fmla="*/ 389724 w 904875"/>
              <a:gd name="connsiteY35" fmla="*/ 541316 h 923925"/>
              <a:gd name="connsiteX36" fmla="*/ 387668 w 904875"/>
              <a:gd name="connsiteY36" fmla="*/ 537496 h 923925"/>
              <a:gd name="connsiteX37" fmla="*/ 244126 w 904875"/>
              <a:gd name="connsiteY37" fmla="*/ 320231 h 923925"/>
              <a:gd name="connsiteX38" fmla="*/ 257270 w 904875"/>
              <a:gd name="connsiteY38" fmla="*/ 219551 h 923925"/>
              <a:gd name="connsiteX39" fmla="*/ 312515 w 904875"/>
              <a:gd name="connsiteY39" fmla="*/ 203645 h 923925"/>
              <a:gd name="connsiteX40" fmla="*/ 318897 w 904875"/>
              <a:gd name="connsiteY40" fmla="*/ 204311 h 923925"/>
              <a:gd name="connsiteX41" fmla="*/ 324612 w 904875"/>
              <a:gd name="connsiteY41" fmla="*/ 205169 h 923925"/>
              <a:gd name="connsiteX42" fmla="*/ 406051 w 904875"/>
              <a:gd name="connsiteY42" fmla="*/ 220028 h 923925"/>
              <a:gd name="connsiteX43" fmla="*/ 619506 w 904875"/>
              <a:gd name="connsiteY43" fmla="*/ 220028 h 923925"/>
              <a:gd name="connsiteX44" fmla="*/ 640366 w 904875"/>
              <a:gd name="connsiteY44" fmla="*/ 216313 h 923925"/>
              <a:gd name="connsiteX45" fmla="*/ 664655 w 904875"/>
              <a:gd name="connsiteY45" fmla="*/ 233553 h 923925"/>
              <a:gd name="connsiteX46" fmla="*/ 647414 w 904875"/>
              <a:gd name="connsiteY46" fmla="*/ 257842 h 923925"/>
              <a:gd name="connsiteX47" fmla="*/ 618839 w 904875"/>
              <a:gd name="connsiteY47" fmla="*/ 262795 h 923925"/>
              <a:gd name="connsiteX48" fmla="*/ 422243 w 904875"/>
              <a:gd name="connsiteY48" fmla="*/ 262795 h 923925"/>
              <a:gd name="connsiteX49" fmla="*/ 400329 w 904875"/>
              <a:gd name="connsiteY49" fmla="*/ 278466 h 923925"/>
              <a:gd name="connsiteX50" fmla="*/ 403193 w 904875"/>
              <a:gd name="connsiteY50" fmla="*/ 292037 h 923925"/>
              <a:gd name="connsiteX51" fmla="*/ 553688 w 904875"/>
              <a:gd name="connsiteY51" fmla="*/ 519398 h 923925"/>
              <a:gd name="connsiteX52" fmla="*/ 554355 w 904875"/>
              <a:gd name="connsiteY52" fmla="*/ 520351 h 923925"/>
              <a:gd name="connsiteX53" fmla="*/ 640080 w 904875"/>
              <a:gd name="connsiteY53" fmla="*/ 634651 h 923925"/>
              <a:gd name="connsiteX54" fmla="*/ 657701 w 904875"/>
              <a:gd name="connsiteY54" fmla="*/ 642080 h 923925"/>
              <a:gd name="connsiteX55" fmla="*/ 818388 w 904875"/>
              <a:gd name="connsiteY55" fmla="*/ 621887 h 923925"/>
              <a:gd name="connsiteX56" fmla="*/ 852100 w 904875"/>
              <a:gd name="connsiteY56" fmla="*/ 648965 h 923925"/>
              <a:gd name="connsiteX57" fmla="*/ 826580 w 904875"/>
              <a:gd name="connsiteY57" fmla="*/ 682466 h 923925"/>
              <a:gd name="connsiteX58" fmla="*/ 655130 w 904875"/>
              <a:gd name="connsiteY58" fmla="*/ 703993 h 923925"/>
              <a:gd name="connsiteX59" fmla="*/ 597313 w 904875"/>
              <a:gd name="connsiteY59" fmla="*/ 679799 h 923925"/>
              <a:gd name="connsiteX60" fmla="*/ 526447 w 904875"/>
              <a:gd name="connsiteY60" fmla="*/ 585788 h 923925"/>
              <a:gd name="connsiteX61" fmla="*/ 504825 w 904875"/>
              <a:gd name="connsiteY61" fmla="*/ 579977 h 923925"/>
              <a:gd name="connsiteX62" fmla="*/ 287941 w 904875"/>
              <a:gd name="connsiteY62" fmla="*/ 670179 h 923925"/>
              <a:gd name="connsiteX63" fmla="*/ 277368 w 904875"/>
              <a:gd name="connsiteY63" fmla="*/ 681133 h 923925"/>
              <a:gd name="connsiteX64" fmla="*/ 207931 w 904875"/>
              <a:gd name="connsiteY64" fmla="*/ 866489 h 923925"/>
              <a:gd name="connsiteX65" fmla="*/ 168593 w 904875"/>
              <a:gd name="connsiteY65" fmla="*/ 884777 h 923925"/>
              <a:gd name="connsiteX66" fmla="*/ 161925 w 904875"/>
              <a:gd name="connsiteY66" fmla="*/ 883539 h 923925"/>
              <a:gd name="connsiteX67" fmla="*/ 145637 w 904875"/>
              <a:gd name="connsiteY67" fmla="*/ 877157 h 923925"/>
              <a:gd name="connsiteX68" fmla="*/ 145352 w 904875"/>
              <a:gd name="connsiteY68" fmla="*/ 859250 h 923925"/>
              <a:gd name="connsiteX69" fmla="*/ 216694 w 904875"/>
              <a:gd name="connsiteY69" fmla="*/ 111919 h 923925"/>
              <a:gd name="connsiteX70" fmla="*/ 111919 w 904875"/>
              <a:gd name="connsiteY70" fmla="*/ 7144 h 923925"/>
              <a:gd name="connsiteX71" fmla="*/ 7144 w 904875"/>
              <a:gd name="connsiteY71" fmla="*/ 111919 h 923925"/>
              <a:gd name="connsiteX72" fmla="*/ 111919 w 904875"/>
              <a:gd name="connsiteY72" fmla="*/ 216694 h 923925"/>
              <a:gd name="connsiteX73" fmla="*/ 216694 w 904875"/>
              <a:gd name="connsiteY73" fmla="*/ 111919 h 923925"/>
              <a:gd name="connsiteX74" fmla="*/ 44767 w 904875"/>
              <a:gd name="connsiteY74" fmla="*/ 111919 h 923925"/>
              <a:gd name="connsiteX75" fmla="*/ 111442 w 904875"/>
              <a:gd name="connsiteY75" fmla="*/ 45244 h 923925"/>
              <a:gd name="connsiteX76" fmla="*/ 178117 w 904875"/>
              <a:gd name="connsiteY76" fmla="*/ 111919 h 923925"/>
              <a:gd name="connsiteX77" fmla="*/ 111442 w 904875"/>
              <a:gd name="connsiteY77" fmla="*/ 178594 h 923925"/>
              <a:gd name="connsiteX78" fmla="*/ 44767 w 904875"/>
              <a:gd name="connsiteY78" fmla="*/ 111919 h 923925"/>
              <a:gd name="connsiteX79" fmla="*/ 804101 w 904875"/>
              <a:gd name="connsiteY79" fmla="*/ 366903 h 923925"/>
              <a:gd name="connsiteX80" fmla="*/ 823151 w 904875"/>
              <a:gd name="connsiteY80" fmla="*/ 385953 h 923925"/>
              <a:gd name="connsiteX81" fmla="*/ 804101 w 904875"/>
              <a:gd name="connsiteY81" fmla="*/ 405003 h 923925"/>
              <a:gd name="connsiteX82" fmla="*/ 617030 w 904875"/>
              <a:gd name="connsiteY82" fmla="*/ 405003 h 923925"/>
              <a:gd name="connsiteX83" fmla="*/ 597980 w 904875"/>
              <a:gd name="connsiteY83" fmla="*/ 385953 h 923925"/>
              <a:gd name="connsiteX84" fmla="*/ 617030 w 904875"/>
              <a:gd name="connsiteY84" fmla="*/ 366903 h 923925"/>
              <a:gd name="connsiteX85" fmla="*/ 881634 w 904875"/>
              <a:gd name="connsiteY85" fmla="*/ 502158 h 923925"/>
              <a:gd name="connsiteX86" fmla="*/ 694658 w 904875"/>
              <a:gd name="connsiteY86" fmla="*/ 502158 h 923925"/>
              <a:gd name="connsiteX87" fmla="*/ 675608 w 904875"/>
              <a:gd name="connsiteY87" fmla="*/ 483108 h 923925"/>
              <a:gd name="connsiteX88" fmla="*/ 694658 w 904875"/>
              <a:gd name="connsiteY88" fmla="*/ 464058 h 923925"/>
              <a:gd name="connsiteX89" fmla="*/ 881634 w 904875"/>
              <a:gd name="connsiteY89" fmla="*/ 464058 h 923925"/>
              <a:gd name="connsiteX90" fmla="*/ 900684 w 904875"/>
              <a:gd name="connsiteY90" fmla="*/ 483108 h 923925"/>
              <a:gd name="connsiteX91" fmla="*/ 881634 w 904875"/>
              <a:gd name="connsiteY91" fmla="*/ 502158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904875" h="923925">
                <a:moveTo>
                  <a:pt x="158401" y="921163"/>
                </a:moveTo>
                <a:cubicBezTo>
                  <a:pt x="165143" y="923321"/>
                  <a:pt x="172181" y="924414"/>
                  <a:pt x="179261" y="924401"/>
                </a:cubicBezTo>
                <a:cubicBezTo>
                  <a:pt x="207862" y="924313"/>
                  <a:pt x="233441" y="906578"/>
                  <a:pt x="243554" y="879824"/>
                </a:cubicBezTo>
                <a:lnTo>
                  <a:pt x="310229" y="702183"/>
                </a:lnTo>
                <a:lnTo>
                  <a:pt x="505873" y="621030"/>
                </a:lnTo>
                <a:lnTo>
                  <a:pt x="567976" y="703231"/>
                </a:lnTo>
                <a:cubicBezTo>
                  <a:pt x="589767" y="731885"/>
                  <a:pt x="625255" y="746647"/>
                  <a:pt x="660940" y="741902"/>
                </a:cubicBezTo>
                <a:lnTo>
                  <a:pt x="832390" y="720376"/>
                </a:lnTo>
                <a:cubicBezTo>
                  <a:pt x="870005" y="715509"/>
                  <a:pt x="896552" y="681070"/>
                  <a:pt x="891684" y="643455"/>
                </a:cubicBezTo>
                <a:cubicBezTo>
                  <a:pt x="887220" y="608950"/>
                  <a:pt x="857656" y="583236"/>
                  <a:pt x="822865" y="583597"/>
                </a:cubicBezTo>
                <a:cubicBezTo>
                  <a:pt x="819839" y="583582"/>
                  <a:pt x="816816" y="583773"/>
                  <a:pt x="813816" y="584168"/>
                </a:cubicBezTo>
                <a:lnTo>
                  <a:pt x="664274" y="603218"/>
                </a:lnTo>
                <a:lnTo>
                  <a:pt x="585121" y="498443"/>
                </a:lnTo>
                <a:lnTo>
                  <a:pt x="458438" y="306610"/>
                </a:lnTo>
                <a:cubicBezTo>
                  <a:pt x="514197" y="312368"/>
                  <a:pt x="570484" y="310381"/>
                  <a:pt x="625697" y="300704"/>
                </a:cubicBezTo>
                <a:lnTo>
                  <a:pt x="653701" y="295751"/>
                </a:lnTo>
                <a:cubicBezTo>
                  <a:pt x="685921" y="290201"/>
                  <a:pt x="707542" y="259582"/>
                  <a:pt x="701993" y="227362"/>
                </a:cubicBezTo>
                <a:cubicBezTo>
                  <a:pt x="696443" y="195141"/>
                  <a:pt x="665824" y="173520"/>
                  <a:pt x="633603" y="179070"/>
                </a:cubicBezTo>
                <a:lnTo>
                  <a:pt x="612648" y="182785"/>
                </a:lnTo>
                <a:cubicBezTo>
                  <a:pt x="546492" y="194544"/>
                  <a:pt x="478780" y="194544"/>
                  <a:pt x="412623" y="182785"/>
                </a:cubicBezTo>
                <a:lnTo>
                  <a:pt x="330899" y="168021"/>
                </a:lnTo>
                <a:lnTo>
                  <a:pt x="322612" y="166783"/>
                </a:lnTo>
                <a:lnTo>
                  <a:pt x="316230" y="166116"/>
                </a:lnTo>
                <a:cubicBezTo>
                  <a:pt x="286211" y="162134"/>
                  <a:pt x="255899" y="170947"/>
                  <a:pt x="232696" y="190405"/>
                </a:cubicBezTo>
                <a:cubicBezTo>
                  <a:pt x="188477" y="228254"/>
                  <a:pt x="179556" y="293196"/>
                  <a:pt x="211931" y="341566"/>
                </a:cubicBezTo>
                <a:lnTo>
                  <a:pt x="343281" y="539687"/>
                </a:lnTo>
                <a:lnTo>
                  <a:pt x="242602" y="581501"/>
                </a:lnTo>
                <a:cubicBezTo>
                  <a:pt x="217043" y="592106"/>
                  <a:pt x="196988" y="612781"/>
                  <a:pt x="187166" y="638651"/>
                </a:cubicBezTo>
                <a:lnTo>
                  <a:pt x="109633" y="845915"/>
                </a:lnTo>
                <a:cubicBezTo>
                  <a:pt x="102355" y="863117"/>
                  <a:pt x="104067" y="882806"/>
                  <a:pt x="114205" y="898493"/>
                </a:cubicBezTo>
                <a:cubicBezTo>
                  <a:pt x="124558" y="912573"/>
                  <a:pt x="140926" y="920968"/>
                  <a:pt x="158401" y="921163"/>
                </a:cubicBezTo>
                <a:close/>
                <a:moveTo>
                  <a:pt x="145256" y="859250"/>
                </a:moveTo>
                <a:lnTo>
                  <a:pt x="222790" y="652177"/>
                </a:lnTo>
                <a:cubicBezTo>
                  <a:pt x="228838" y="636116"/>
                  <a:pt x="241244" y="623262"/>
                  <a:pt x="257080" y="616649"/>
                </a:cubicBezTo>
                <a:lnTo>
                  <a:pt x="379095" y="566071"/>
                </a:lnTo>
                <a:cubicBezTo>
                  <a:pt x="388866" y="562170"/>
                  <a:pt x="393625" y="551087"/>
                  <a:pt x="389724" y="541316"/>
                </a:cubicBezTo>
                <a:cubicBezTo>
                  <a:pt x="389186" y="539968"/>
                  <a:pt x="388496" y="538687"/>
                  <a:pt x="387668" y="537496"/>
                </a:cubicBezTo>
                <a:lnTo>
                  <a:pt x="244126" y="320231"/>
                </a:lnTo>
                <a:cubicBezTo>
                  <a:pt x="222254" y="288214"/>
                  <a:pt x="227912" y="244879"/>
                  <a:pt x="257270" y="219551"/>
                </a:cubicBezTo>
                <a:cubicBezTo>
                  <a:pt x="272553" y="206573"/>
                  <a:pt x="292671" y="200780"/>
                  <a:pt x="312515" y="203645"/>
                </a:cubicBezTo>
                <a:lnTo>
                  <a:pt x="318897" y="204311"/>
                </a:lnTo>
                <a:lnTo>
                  <a:pt x="324612" y="205169"/>
                </a:lnTo>
                <a:lnTo>
                  <a:pt x="406051" y="220028"/>
                </a:lnTo>
                <a:cubicBezTo>
                  <a:pt x="476650" y="232566"/>
                  <a:pt x="548907" y="232566"/>
                  <a:pt x="619506" y="220028"/>
                </a:cubicBezTo>
                <a:lnTo>
                  <a:pt x="640366" y="216313"/>
                </a:lnTo>
                <a:cubicBezTo>
                  <a:pt x="651834" y="214366"/>
                  <a:pt x="662708" y="222085"/>
                  <a:pt x="664655" y="233553"/>
                </a:cubicBezTo>
                <a:cubicBezTo>
                  <a:pt x="666601" y="245021"/>
                  <a:pt x="658882" y="255895"/>
                  <a:pt x="647414" y="257842"/>
                </a:cubicBezTo>
                <a:lnTo>
                  <a:pt x="618839" y="262795"/>
                </a:lnTo>
                <a:cubicBezTo>
                  <a:pt x="553799" y="274151"/>
                  <a:pt x="487283" y="274151"/>
                  <a:pt x="422243" y="262795"/>
                </a:cubicBezTo>
                <a:cubicBezTo>
                  <a:pt x="411864" y="261071"/>
                  <a:pt x="402053" y="268087"/>
                  <a:pt x="400329" y="278466"/>
                </a:cubicBezTo>
                <a:cubicBezTo>
                  <a:pt x="399545" y="283189"/>
                  <a:pt x="400567" y="288034"/>
                  <a:pt x="403193" y="292037"/>
                </a:cubicBezTo>
                <a:lnTo>
                  <a:pt x="553688" y="519398"/>
                </a:lnTo>
                <a:lnTo>
                  <a:pt x="554355" y="520351"/>
                </a:lnTo>
                <a:lnTo>
                  <a:pt x="640080" y="634651"/>
                </a:lnTo>
                <a:cubicBezTo>
                  <a:pt x="644195" y="640110"/>
                  <a:pt x="650920" y="642945"/>
                  <a:pt x="657701" y="642080"/>
                </a:cubicBezTo>
                <a:lnTo>
                  <a:pt x="818388" y="621887"/>
                </a:lnTo>
                <a:cubicBezTo>
                  <a:pt x="835175" y="620055"/>
                  <a:pt x="850268" y="632178"/>
                  <a:pt x="852100" y="648965"/>
                </a:cubicBezTo>
                <a:cubicBezTo>
                  <a:pt x="853866" y="665144"/>
                  <a:pt x="842647" y="679872"/>
                  <a:pt x="826580" y="682466"/>
                </a:cubicBezTo>
                <a:lnTo>
                  <a:pt x="655130" y="703993"/>
                </a:lnTo>
                <a:cubicBezTo>
                  <a:pt x="632903" y="706958"/>
                  <a:pt x="610804" y="697710"/>
                  <a:pt x="597313" y="679799"/>
                </a:cubicBezTo>
                <a:lnTo>
                  <a:pt x="526447" y="585788"/>
                </a:lnTo>
                <a:cubicBezTo>
                  <a:pt x="521258" y="579373"/>
                  <a:pt x="512530" y="577028"/>
                  <a:pt x="504825" y="579977"/>
                </a:cubicBezTo>
                <a:lnTo>
                  <a:pt x="287941" y="670179"/>
                </a:lnTo>
                <a:cubicBezTo>
                  <a:pt x="283047" y="672202"/>
                  <a:pt x="279217" y="676171"/>
                  <a:pt x="277368" y="681133"/>
                </a:cubicBezTo>
                <a:lnTo>
                  <a:pt x="207931" y="866489"/>
                </a:lnTo>
                <a:cubicBezTo>
                  <a:pt x="201917" y="882216"/>
                  <a:pt x="184493" y="890316"/>
                  <a:pt x="168593" y="884777"/>
                </a:cubicBezTo>
                <a:cubicBezTo>
                  <a:pt x="166462" y="883969"/>
                  <a:pt x="164204" y="883550"/>
                  <a:pt x="161925" y="883539"/>
                </a:cubicBezTo>
                <a:cubicBezTo>
                  <a:pt x="155782" y="884178"/>
                  <a:pt x="149711" y="881799"/>
                  <a:pt x="145637" y="877157"/>
                </a:cubicBezTo>
                <a:cubicBezTo>
                  <a:pt x="142567" y="871608"/>
                  <a:pt x="142460" y="864895"/>
                  <a:pt x="145352" y="859250"/>
                </a:cubicBezTo>
                <a:close/>
                <a:moveTo>
                  <a:pt x="216694" y="111919"/>
                </a:moveTo>
                <a:cubicBezTo>
                  <a:pt x="216694" y="54053"/>
                  <a:pt x="169784" y="7144"/>
                  <a:pt x="111919" y="7144"/>
                </a:cubicBezTo>
                <a:cubicBezTo>
                  <a:pt x="54053" y="7144"/>
                  <a:pt x="7144" y="54053"/>
                  <a:pt x="7144" y="111919"/>
                </a:cubicBezTo>
                <a:cubicBezTo>
                  <a:pt x="7144" y="169784"/>
                  <a:pt x="54053" y="216694"/>
                  <a:pt x="111919" y="216694"/>
                </a:cubicBezTo>
                <a:cubicBezTo>
                  <a:pt x="169784" y="216694"/>
                  <a:pt x="216694" y="169784"/>
                  <a:pt x="216694" y="111919"/>
                </a:cubicBezTo>
                <a:close/>
                <a:moveTo>
                  <a:pt x="44767" y="111919"/>
                </a:moveTo>
                <a:cubicBezTo>
                  <a:pt x="44767" y="75095"/>
                  <a:pt x="74619" y="45244"/>
                  <a:pt x="111442" y="45244"/>
                </a:cubicBezTo>
                <a:cubicBezTo>
                  <a:pt x="148266" y="45244"/>
                  <a:pt x="178117" y="75095"/>
                  <a:pt x="178117" y="111919"/>
                </a:cubicBezTo>
                <a:cubicBezTo>
                  <a:pt x="178117" y="148742"/>
                  <a:pt x="148266" y="178594"/>
                  <a:pt x="111442" y="178594"/>
                </a:cubicBezTo>
                <a:cubicBezTo>
                  <a:pt x="74619" y="178594"/>
                  <a:pt x="44767" y="148742"/>
                  <a:pt x="44767" y="111919"/>
                </a:cubicBezTo>
                <a:close/>
                <a:moveTo>
                  <a:pt x="804101" y="366903"/>
                </a:moveTo>
                <a:cubicBezTo>
                  <a:pt x="814622" y="366903"/>
                  <a:pt x="823151" y="375432"/>
                  <a:pt x="823151" y="385953"/>
                </a:cubicBezTo>
                <a:cubicBezTo>
                  <a:pt x="823151" y="396474"/>
                  <a:pt x="814622" y="405003"/>
                  <a:pt x="804101" y="405003"/>
                </a:cubicBezTo>
                <a:lnTo>
                  <a:pt x="617030" y="405003"/>
                </a:lnTo>
                <a:cubicBezTo>
                  <a:pt x="606509" y="405003"/>
                  <a:pt x="597980" y="396474"/>
                  <a:pt x="597980" y="385953"/>
                </a:cubicBezTo>
                <a:cubicBezTo>
                  <a:pt x="597980" y="375432"/>
                  <a:pt x="606509" y="366903"/>
                  <a:pt x="617030" y="366903"/>
                </a:cubicBezTo>
                <a:close/>
                <a:moveTo>
                  <a:pt x="881634" y="502158"/>
                </a:moveTo>
                <a:lnTo>
                  <a:pt x="694658" y="502158"/>
                </a:lnTo>
                <a:cubicBezTo>
                  <a:pt x="684137" y="502158"/>
                  <a:pt x="675608" y="493629"/>
                  <a:pt x="675608" y="483108"/>
                </a:cubicBezTo>
                <a:cubicBezTo>
                  <a:pt x="675608" y="472587"/>
                  <a:pt x="684137" y="464058"/>
                  <a:pt x="694658" y="464058"/>
                </a:cubicBezTo>
                <a:lnTo>
                  <a:pt x="881634" y="464058"/>
                </a:lnTo>
                <a:cubicBezTo>
                  <a:pt x="892155" y="464058"/>
                  <a:pt x="900684" y="472587"/>
                  <a:pt x="900684" y="483108"/>
                </a:cubicBezTo>
                <a:cubicBezTo>
                  <a:pt x="900684" y="493629"/>
                  <a:pt x="892155" y="502158"/>
                  <a:pt x="881634" y="502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939" dirty="0"/>
          </a:p>
        </p:txBody>
      </p:sp>
    </p:spTree>
    <p:extLst>
      <p:ext uri="{BB962C8B-B14F-4D97-AF65-F5344CB8AC3E}">
        <p14:creationId xmlns:p14="http://schemas.microsoft.com/office/powerpoint/2010/main" val="426787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0</TotalTime>
  <Words>9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3</cp:revision>
  <dcterms:created xsi:type="dcterms:W3CDTF">2021-03-31T02:49:57Z</dcterms:created>
  <dcterms:modified xsi:type="dcterms:W3CDTF">2025-10-15T08:33:27Z</dcterms:modified>
  <cp:category/>
</cp:coreProperties>
</file>